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tiff" ContentType="image/tiff"/>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5.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7.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8.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9.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0.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83" r:id="rId2"/>
    <p:sldMasterId id="2147483716" r:id="rId3"/>
    <p:sldMasterId id="2147483751" r:id="rId4"/>
    <p:sldMasterId id="2147483792" r:id="rId5"/>
    <p:sldMasterId id="2147483880" r:id="rId6"/>
    <p:sldMasterId id="2147483925" r:id="rId7"/>
    <p:sldMasterId id="2147483994" r:id="rId8"/>
    <p:sldMasterId id="2147484018" r:id="rId9"/>
    <p:sldMasterId id="2147484044" r:id="rId10"/>
    <p:sldMasterId id="2147484052" r:id="rId11"/>
  </p:sldMasterIdLst>
  <p:notesMasterIdLst>
    <p:notesMasterId r:id="rId37"/>
  </p:notesMasterIdLst>
  <p:handoutMasterIdLst>
    <p:handoutMasterId r:id="rId38"/>
  </p:handoutMasterIdLst>
  <p:sldIdLst>
    <p:sldId id="1896" r:id="rId12"/>
    <p:sldId id="2147376660" r:id="rId13"/>
    <p:sldId id="2142534919" r:id="rId14"/>
    <p:sldId id="263" r:id="rId15"/>
    <p:sldId id="2147376662" r:id="rId16"/>
    <p:sldId id="2147376665" r:id="rId17"/>
    <p:sldId id="2147376666" r:id="rId18"/>
    <p:sldId id="2147376681" r:id="rId19"/>
    <p:sldId id="2147376676" r:id="rId20"/>
    <p:sldId id="2147376679" r:id="rId21"/>
    <p:sldId id="2147376677" r:id="rId22"/>
    <p:sldId id="2147376678" r:id="rId23"/>
    <p:sldId id="2147376661" r:id="rId24"/>
    <p:sldId id="2147376649" r:id="rId25"/>
    <p:sldId id="2147376670" r:id="rId26"/>
    <p:sldId id="264" r:id="rId27"/>
    <p:sldId id="265" r:id="rId28"/>
    <p:sldId id="2147376647" r:id="rId29"/>
    <p:sldId id="270" r:id="rId30"/>
    <p:sldId id="272" r:id="rId31"/>
    <p:sldId id="273" r:id="rId32"/>
    <p:sldId id="2147376653" r:id="rId33"/>
    <p:sldId id="2147376655" r:id="rId34"/>
    <p:sldId id="2147376656" r:id="rId35"/>
    <p:sldId id="2147376663" r:id="rId36"/>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oline B. Poser" initials="CBP" lastIdx="4" clrIdx="0">
    <p:extLst>
      <p:ext uri="{19B8F6BF-5375-455C-9EA6-DF929625EA0E}">
        <p15:presenceInfo xmlns:p15="http://schemas.microsoft.com/office/powerpoint/2012/main" userId="S::cposer@us.ibm.com::d318627f-12d8-42b8-b1fc-8b9474e7d4d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7F7F7F"/>
    <a:srgbClr val="1061FE"/>
    <a:srgbClr val="059AFA"/>
    <a:srgbClr val="1FBDF0"/>
    <a:srgbClr val="76D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25400" cap="flat">
              <a:solidFill>
                <a:srgbClr val="000000"/>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firstCol>
    <a:lastRow>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lastRow>
    <a:firstRow>
      <a:tcTxStyle b="on"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838383"/>
              </a:solidFill>
              <a:prstDash val="solid"/>
              <a:miter lim="400000"/>
            </a:ln>
          </a:left>
          <a:right>
            <a:ln w="12700" cap="flat">
              <a:solidFill>
                <a:srgbClr val="838383"/>
              </a:solidFill>
              <a:prstDash val="solid"/>
              <a:miter lim="400000"/>
            </a:ln>
          </a:right>
          <a:top>
            <a:ln w="12700" cap="flat">
              <a:solidFill>
                <a:srgbClr val="838383"/>
              </a:solidFill>
              <a:prstDash val="solid"/>
              <a:miter lim="400000"/>
            </a:ln>
          </a:top>
          <a:bottom>
            <a:ln w="12700" cap="flat">
              <a:solidFill>
                <a:srgbClr val="838383"/>
              </a:solidFill>
              <a:prstDash val="solid"/>
              <a:miter lim="400000"/>
            </a:ln>
          </a:bottom>
          <a:insideH>
            <a:ln w="12700" cap="flat">
              <a:solidFill>
                <a:srgbClr val="838383"/>
              </a:solidFill>
              <a:prstDash val="solid"/>
              <a:miter lim="400000"/>
            </a:ln>
          </a:insideH>
          <a:insideV>
            <a:ln w="12700"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808080"/>
              </a:solidFill>
              <a:prstDash val="solid"/>
              <a:miter lim="400000"/>
            </a:ln>
          </a:right>
          <a:top>
            <a:ln w="12700" cap="flat">
              <a:solidFill>
                <a:srgbClr val="808080"/>
              </a:solidFill>
              <a:prstDash val="solid"/>
              <a:miter lim="400000"/>
            </a:ln>
          </a:top>
          <a:bottom>
            <a:ln w="12700" cap="flat">
              <a:solidFill>
                <a:srgbClr val="808080"/>
              </a:solidFill>
              <a:prstDash val="solid"/>
              <a:miter lim="400000"/>
            </a:ln>
          </a:bottom>
          <a:insideH>
            <a:ln w="12700" cap="flat">
              <a:solidFill>
                <a:srgbClr val="808080"/>
              </a:solidFill>
              <a:prstDash val="solid"/>
              <a:miter lim="400000"/>
            </a:ln>
          </a:insideH>
          <a:insideV>
            <a:ln w="12700" cap="flat">
              <a:solidFill>
                <a:srgbClr val="808080"/>
              </a:solidFill>
              <a:prstDash val="solid"/>
              <a:miter lim="400000"/>
            </a:ln>
          </a:insideV>
        </a:tcBdr>
        <a:fill>
          <a:solidFill>
            <a:srgbClr val="88FA4F"/>
          </a:solidFill>
        </a:fill>
      </a:tcStyle>
    </a:firstCol>
    <a:lastRow>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chemeClr val="accent3"/>
              </a:solidFill>
              <a:prstDash val="solid"/>
              <a:miter lim="400000"/>
            </a:ln>
          </a:top>
          <a:bottom>
            <a:ln w="12700" cap="flat">
              <a:solidFill>
                <a:srgbClr val="4D4D4D"/>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4D4D4D"/>
              </a:solidFill>
              <a:prstDash val="solid"/>
              <a:miter lim="400000"/>
            </a:ln>
          </a:right>
          <a:top>
            <a:ln w="12700" cap="flat">
              <a:solidFill>
                <a:srgbClr val="4D4D4D"/>
              </a:solidFill>
              <a:prstDash val="solid"/>
              <a:miter lim="400000"/>
            </a:ln>
          </a:top>
          <a:bottom>
            <a:ln w="12700" cap="flat">
              <a:solidFill>
                <a:srgbClr val="4D4D4D"/>
              </a:solidFill>
              <a:prstDash val="solid"/>
              <a:miter lim="400000"/>
            </a:ln>
          </a:bottom>
          <a:insideH>
            <a:ln w="12700" cap="flat">
              <a:solidFill>
                <a:srgbClr val="4D4D4D"/>
              </a:solidFill>
              <a:prstDash val="solid"/>
              <a:miter lim="400000"/>
            </a:ln>
          </a:insideH>
          <a:insideV>
            <a:ln w="12700"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38100" cap="flat">
              <a:solidFill>
                <a:srgbClr val="F8BA00"/>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464646"/>
              </a:solidFill>
              <a:prstDash val="solid"/>
              <a:miter lim="400000"/>
            </a:ln>
          </a:left>
          <a:right>
            <a:ln w="12700" cap="flat">
              <a:solidFill>
                <a:srgbClr val="464646"/>
              </a:solidFill>
              <a:prstDash val="solid"/>
              <a:miter lim="400000"/>
            </a:ln>
          </a:right>
          <a:top>
            <a:ln w="12700" cap="flat">
              <a:solidFill>
                <a:srgbClr val="464646"/>
              </a:solidFill>
              <a:prstDash val="solid"/>
              <a:miter lim="400000"/>
            </a:ln>
          </a:top>
          <a:bottom>
            <a:ln w="12700" cap="flat">
              <a:solidFill>
                <a:srgbClr val="464646"/>
              </a:solidFill>
              <a:prstDash val="solid"/>
              <a:miter lim="400000"/>
            </a:ln>
          </a:bottom>
          <a:insideH>
            <a:ln w="12700" cap="flat">
              <a:solidFill>
                <a:srgbClr val="464646"/>
              </a:solidFill>
              <a:prstDash val="solid"/>
              <a:miter lim="400000"/>
            </a:ln>
          </a:insideH>
          <a:insideV>
            <a:ln w="12700"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Ref idx="minor">
          <a:srgbClr val="FFFFFF"/>
        </a:fontRef>
        <a:srgbClr val="FFFFFF"/>
      </a:tcTxStyle>
      <a:tcStyle>
        <a:tcBdr>
          <a:left>
            <a:ln w="12700" cap="flat">
              <a:solidFill>
                <a:srgbClr val="5E5E5E"/>
              </a:solidFill>
              <a:prstDash val="solid"/>
              <a:miter lim="400000"/>
            </a:ln>
          </a:left>
          <a:right>
            <a:ln w="12700" cap="flat">
              <a:solidFill>
                <a:srgbClr val="A6AAA9"/>
              </a:solidFill>
              <a:prstDash val="solid"/>
              <a:miter lim="400000"/>
            </a:ln>
          </a:right>
          <a:top>
            <a:ln w="12700" cap="flat">
              <a:solidFill>
                <a:srgbClr val="C3C3C3"/>
              </a:solidFill>
              <a:prstDash val="solid"/>
              <a:miter lim="400000"/>
            </a:ln>
          </a:top>
          <a:bottom>
            <a:ln w="12700" cap="flat">
              <a:solidFill>
                <a:srgbClr val="C3C3C3"/>
              </a:solidFill>
              <a:prstDash val="solid"/>
              <a:miter lim="400000"/>
            </a:ln>
          </a:bottom>
          <a:insideH>
            <a:ln w="12700" cap="flat">
              <a:solidFill>
                <a:srgbClr val="C3C3C3"/>
              </a:solidFill>
              <a:prstDash val="solid"/>
              <a:miter lim="400000"/>
            </a:ln>
          </a:insideH>
          <a:insideV>
            <a:ln w="12700" cap="flat">
              <a:solidFill>
                <a:srgbClr val="C3C3C3"/>
              </a:solidFill>
              <a:prstDash val="solid"/>
              <a:miter lim="400000"/>
            </a:ln>
          </a:insideV>
        </a:tcBdr>
        <a:fill>
          <a:solidFill>
            <a:srgbClr val="CB2A7B"/>
          </a:solidFill>
        </a:fill>
      </a:tcStyle>
    </a:firstCol>
    <a:lastRow>
      <a:tcTxStyle b="on" i="off">
        <a:fontRef idx="minor">
          <a:srgbClr val="000000"/>
        </a:fontRef>
        <a:srgbClr val="000000"/>
      </a:tcTxStyle>
      <a:tcStyle>
        <a:tcBdr>
          <a:left>
            <a:ln w="12700" cap="flat">
              <a:solidFill>
                <a:srgbClr val="5E5E5E"/>
              </a:solidFill>
              <a:prstDash val="solid"/>
              <a:miter lim="400000"/>
            </a:ln>
          </a:left>
          <a:right>
            <a:ln w="12700" cap="flat">
              <a:solidFill>
                <a:srgbClr val="5E5E5E"/>
              </a:solidFill>
              <a:prstDash val="solid"/>
              <a:miter lim="400000"/>
            </a:ln>
          </a:right>
          <a:top>
            <a:ln w="38100" cap="flat">
              <a:solidFill>
                <a:srgbClr val="CB297B"/>
              </a:solidFill>
              <a:prstDash val="solid"/>
              <a:miter lim="400000"/>
            </a:ln>
          </a:top>
          <a:bottom>
            <a:ln w="12700" cap="flat">
              <a:solidFill>
                <a:srgbClr val="5E5E5E"/>
              </a:solidFill>
              <a:prstDash val="solid"/>
              <a:miter lim="400000"/>
            </a:ln>
          </a:bottom>
          <a:insideH>
            <a:ln w="12700" cap="flat">
              <a:solidFill>
                <a:srgbClr val="5E5E5E"/>
              </a:solidFill>
              <a:prstDash val="solid"/>
              <a:miter lim="400000"/>
            </a:ln>
          </a:insideH>
          <a:insideV>
            <a:ln w="12700" cap="flat">
              <a:solidFill>
                <a:srgbClr val="5E5E5E"/>
              </a:solidFill>
              <a:prstDash val="solid"/>
              <a:miter lim="400000"/>
            </a:ln>
          </a:insideV>
        </a:tcBdr>
        <a:fill>
          <a:solidFill>
            <a:srgbClr val="FFFFFF"/>
          </a:solidFill>
        </a:fill>
      </a:tcStyle>
    </a:lastRow>
    <a:firstRow>
      <a:tcTxStyle b="on" i="off">
        <a:fontRef idx="minor">
          <a:srgbClr val="FFFFFF"/>
        </a:fontRef>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5E5E5E"/>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12700" cap="flat">
              <a:solidFill>
                <a:srgbClr val="6C6C6C"/>
              </a:solidFill>
              <a:prstDash val="solid"/>
              <a:miter lim="400000"/>
            </a:ln>
          </a:left>
          <a:right>
            <a:ln w="254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25400" cap="flat">
              <a:solidFill>
                <a:srgbClr val="000000"/>
              </a:solidFill>
              <a:prstDash val="solid"/>
              <a:miter lim="400000"/>
            </a:ln>
          </a:top>
          <a:bottom>
            <a:ln w="12700" cap="flat">
              <a:solidFill>
                <a:srgbClr val="6C6C6C"/>
              </a:solidFill>
              <a:prstDash val="solid"/>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6C6C6C"/>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D6DCE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596"/>
    <p:restoredTop sz="95890"/>
  </p:normalViewPr>
  <p:slideViewPr>
    <p:cSldViewPr snapToGrid="0" snapToObjects="1">
      <p:cViewPr varScale="1">
        <p:scale>
          <a:sx n="52" d="100"/>
          <a:sy n="52" d="100"/>
        </p:scale>
        <p:origin x="208" y="30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89" d="100"/>
          <a:sy n="89" d="100"/>
        </p:scale>
        <p:origin x="3840"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commentAuthors" Target="commentAuthors.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8CD0F6-B94F-E83A-34F0-F6A3E51418A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B7F2BB3-2C64-1E0B-DC05-639A5F5C1D5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0ECC605-9D94-984A-A75B-EBEEB5E63DA0}" type="datetimeFigureOut">
              <a:rPr lang="en-US" smtClean="0"/>
              <a:t>10/21/22</a:t>
            </a:fld>
            <a:endParaRPr lang="en-US"/>
          </a:p>
        </p:txBody>
      </p:sp>
      <p:sp>
        <p:nvSpPr>
          <p:cNvPr id="4" name="Footer Placeholder 3">
            <a:extLst>
              <a:ext uri="{FF2B5EF4-FFF2-40B4-BE49-F238E27FC236}">
                <a16:creationId xmlns:a16="http://schemas.microsoft.com/office/drawing/2014/main" id="{0EDCCF94-A098-AB1F-D9C2-274083ED1E8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FBAB38E-B2AE-A3C6-192F-EF134FCD86D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0978B52-8979-E647-817A-42D13F01AF99}" type="slidenum">
              <a:rPr lang="en-US" smtClean="0"/>
              <a:t>‹#›</a:t>
            </a:fld>
            <a:endParaRPr lang="en-US"/>
          </a:p>
        </p:txBody>
      </p:sp>
    </p:spTree>
    <p:extLst>
      <p:ext uri="{BB962C8B-B14F-4D97-AF65-F5344CB8AC3E}">
        <p14:creationId xmlns:p14="http://schemas.microsoft.com/office/powerpoint/2010/main" val="1103271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03" name="Shape 1003"/>
          <p:cNvSpPr>
            <a:spLocks noGrp="1" noRot="1" noChangeAspect="1"/>
          </p:cNvSpPr>
          <p:nvPr>
            <p:ph type="sldImg"/>
          </p:nvPr>
        </p:nvSpPr>
        <p:spPr>
          <a:xfrm>
            <a:off x="1143000" y="685800"/>
            <a:ext cx="4572000" cy="3429000"/>
          </a:xfrm>
          <a:prstGeom prst="rect">
            <a:avLst/>
          </a:prstGeom>
        </p:spPr>
        <p:txBody>
          <a:bodyPr/>
          <a:lstStyle/>
          <a:p>
            <a:endParaRPr/>
          </a:p>
        </p:txBody>
      </p:sp>
      <p:sp>
        <p:nvSpPr>
          <p:cNvPr id="1004" name="Shape 100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378651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343922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2260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37506705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 name="Shape 1351"/>
          <p:cNvSpPr>
            <a:spLocks noGrp="1" noRot="1" noChangeAspect="1"/>
          </p:cNvSpPr>
          <p:nvPr>
            <p:ph type="sldImg"/>
          </p:nvPr>
        </p:nvSpPr>
        <p:spPr>
          <a:xfrm>
            <a:off x="381000" y="685800"/>
            <a:ext cx="6096000" cy="3429000"/>
          </a:xfrm>
          <a:prstGeom prst="rect">
            <a:avLst/>
          </a:prstGeom>
        </p:spPr>
        <p:txBody>
          <a:bodyPr/>
          <a:lstStyle/>
          <a:p>
            <a:endParaRPr/>
          </a:p>
        </p:txBody>
      </p:sp>
      <p:sp>
        <p:nvSpPr>
          <p:cNvPr id="1352" name="Shape 1352"/>
          <p:cNvSpPr>
            <a:spLocks noGrp="1"/>
          </p:cNvSpPr>
          <p:nvPr>
            <p:ph type="body" sz="quarter" idx="1"/>
          </p:nvPr>
        </p:nvSpPr>
        <p:spPr>
          <a:prstGeom prst="rect">
            <a:avLst/>
          </a:prstGeom>
        </p:spPr>
        <p:txBody>
          <a:bodyPr/>
          <a:lstStyle/>
          <a:p>
            <a:r>
              <a:t>We know already a bit a out you</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6" name="Shape 1386"/>
          <p:cNvSpPr>
            <a:spLocks noGrp="1" noRot="1" noChangeAspect="1"/>
          </p:cNvSpPr>
          <p:nvPr>
            <p:ph type="sldImg"/>
          </p:nvPr>
        </p:nvSpPr>
        <p:spPr>
          <a:xfrm>
            <a:off x="381000" y="685800"/>
            <a:ext cx="6096000" cy="3429000"/>
          </a:xfrm>
          <a:prstGeom prst="rect">
            <a:avLst/>
          </a:prstGeom>
        </p:spPr>
        <p:txBody>
          <a:bodyPr/>
          <a:lstStyle/>
          <a:p>
            <a:endParaRPr/>
          </a:p>
        </p:txBody>
      </p:sp>
      <p:sp>
        <p:nvSpPr>
          <p:cNvPr id="1387" name="Shape 1387"/>
          <p:cNvSpPr>
            <a:spLocks noGrp="1"/>
          </p:cNvSpPr>
          <p:nvPr>
            <p:ph type="body" sz="quarter" idx="1"/>
          </p:nvPr>
        </p:nvSpPr>
        <p:spPr>
          <a:prstGeom prst="rect">
            <a:avLst/>
          </a:prstGeom>
        </p:spPr>
        <p:txBody>
          <a:bodyPr/>
          <a:lstStyle/>
          <a:p>
            <a:r>
              <a:t>We know already a bit a out you</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Helvetica Neue"/>
                <a:cs typeface="Helvetica Neue"/>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Helvetica Neue"/>
              <a:cs typeface="Helvetica Neue"/>
              <a:sym typeface="Helvetica Neue"/>
            </a:endParaRPr>
          </a:p>
        </p:txBody>
      </p:sp>
    </p:spTree>
    <p:extLst>
      <p:ext uri="{BB962C8B-B14F-4D97-AF65-F5344CB8AC3E}">
        <p14:creationId xmlns:p14="http://schemas.microsoft.com/office/powerpoint/2010/main" val="14897583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8" name="Shape 1758"/>
          <p:cNvSpPr>
            <a:spLocks noGrp="1" noRot="1" noChangeAspect="1"/>
          </p:cNvSpPr>
          <p:nvPr>
            <p:ph type="sldImg"/>
          </p:nvPr>
        </p:nvSpPr>
        <p:spPr>
          <a:xfrm>
            <a:off x="381000" y="685800"/>
            <a:ext cx="6096000" cy="3429000"/>
          </a:xfrm>
          <a:prstGeom prst="rect">
            <a:avLst/>
          </a:prstGeom>
        </p:spPr>
        <p:txBody>
          <a:bodyPr/>
          <a:lstStyle/>
          <a:p>
            <a:endParaRPr/>
          </a:p>
        </p:txBody>
      </p:sp>
      <p:sp>
        <p:nvSpPr>
          <p:cNvPr id="1759" name="Shape 1759"/>
          <p:cNvSpPr>
            <a:spLocks noGrp="1"/>
          </p:cNvSpPr>
          <p:nvPr>
            <p:ph type="body" sz="quarter" idx="1"/>
          </p:nvPr>
        </p:nvSpPr>
        <p:spPr>
          <a:prstGeom prst="rect">
            <a:avLst/>
          </a:prstGeom>
        </p:spPr>
        <p:txBody>
          <a:bodyPr/>
          <a:lstStyle/>
          <a:p>
            <a:r>
              <a:t>We know already a bit a out you</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24784899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1114920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2770256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3412634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Helvetica Neue"/>
                <a:cs typeface="Helvetica Neue"/>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Helvetica Neue"/>
              <a:cs typeface="Helvetica Neue"/>
              <a:sym typeface="Helvetica Neue"/>
            </a:endParaRPr>
          </a:p>
        </p:txBody>
      </p:sp>
    </p:spTree>
    <p:extLst>
      <p:ext uri="{BB962C8B-B14F-4D97-AF65-F5344CB8AC3E}">
        <p14:creationId xmlns:p14="http://schemas.microsoft.com/office/powerpoint/2010/main" val="2357133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534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89475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1734323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5075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 is the high level plan for how to help client deliver migration </a:t>
            </a:r>
          </a:p>
          <a:p>
            <a:endParaRPr lang="en-US" dirty="0"/>
          </a:p>
          <a:p>
            <a:r>
              <a:rPr lang="en-US" u="sng" dirty="0"/>
              <a:t>Action Plan </a:t>
            </a:r>
          </a:p>
          <a:p>
            <a:endParaRPr lang="en-US" dirty="0"/>
          </a:p>
          <a:p>
            <a:r>
              <a:rPr lang="en-US" dirty="0"/>
              <a:t>Step 0:Option :  Gather customer business information about build a value proposal/ benefit case for server optimization potentials with containerization of the on-prem </a:t>
            </a:r>
          </a:p>
          <a:p>
            <a:endParaRPr lang="en-US" dirty="0"/>
          </a:p>
          <a:p>
            <a:r>
              <a:rPr lang="en-US" dirty="0"/>
              <a:t>Step 2: Creation of high level plan (based on findings from information gathering phase)</a:t>
            </a:r>
          </a:p>
          <a:p>
            <a:endParaRPr lang="en-US" dirty="0"/>
          </a:p>
          <a:p>
            <a:r>
              <a:rPr lang="en-US" dirty="0"/>
              <a:t>Step 3: </a:t>
            </a:r>
          </a:p>
          <a:p>
            <a:endParaRPr lang="en-US" dirty="0"/>
          </a:p>
          <a:p>
            <a:r>
              <a:rPr lang="en-US" dirty="0"/>
              <a:t>Run Process Mining on selected business applications are identify areas of improvement (sponsorship) -</a:t>
            </a:r>
            <a:r>
              <a:rPr lang="en-US" dirty="0">
                <a:sym typeface="Wingdings" pitchFamily="2" charset="2"/>
              </a:rPr>
              <a:t> We know business processes to improve </a:t>
            </a:r>
            <a:endParaRPr lang="en-US" dirty="0"/>
          </a:p>
          <a:p>
            <a:r>
              <a:rPr lang="en-US" dirty="0"/>
              <a:t>Run </a:t>
            </a:r>
            <a:r>
              <a:rPr lang="en-US" dirty="0" err="1"/>
              <a:t>Transfornation</a:t>
            </a:r>
            <a:r>
              <a:rPr lang="en-US" dirty="0"/>
              <a:t> Advisor scan / on a small group of selected candidate business applications (sponsorship for this phase is essential) </a:t>
            </a:r>
            <a:r>
              <a:rPr lang="en-US" dirty="0">
                <a:sym typeface="Wingdings" pitchFamily="2" charset="2"/>
              </a:rPr>
              <a:t> We assess path for migrations </a:t>
            </a:r>
            <a:endParaRPr lang="en-US" dirty="0"/>
          </a:p>
          <a:p>
            <a:endParaRPr lang="en-US" dirty="0"/>
          </a:p>
          <a:p>
            <a:r>
              <a:rPr lang="en-US" dirty="0"/>
              <a:t>Step 4:IBM to invest in MVP to showcase modernization using a candidate business app and findings from TA scan.</a:t>
            </a:r>
          </a:p>
          <a:p>
            <a:endParaRPr lang="en-US" dirty="0"/>
          </a:p>
          <a:p>
            <a:r>
              <a:rPr lang="en-US" dirty="0"/>
              <a:t>Step 5: IBM to present findings of MVP to key sponsors and agree on formal plan with client.</a:t>
            </a:r>
          </a:p>
          <a:p>
            <a:endParaRPr lang="en-US" dirty="0"/>
          </a:p>
          <a:p>
            <a:r>
              <a:rPr lang="en-US" dirty="0"/>
              <a:t>**</a:t>
            </a:r>
          </a:p>
          <a:p>
            <a:r>
              <a:rPr lang="en-US" dirty="0"/>
              <a:t>For MVP </a:t>
            </a:r>
          </a:p>
          <a:p>
            <a:r>
              <a:rPr lang="en-US" dirty="0"/>
              <a:t>**</a:t>
            </a:r>
          </a:p>
          <a:p>
            <a:endParaRPr lang="en-US" dirty="0"/>
          </a:p>
          <a:p>
            <a:r>
              <a:rPr lang="en-US" dirty="0"/>
              <a:t>Identify apps that represent different architecture patterns that they deploy – </a:t>
            </a:r>
          </a:p>
          <a:p>
            <a:r>
              <a:rPr lang="en-US" dirty="0"/>
              <a:t>Simple, medium, complex – topology info – and we will scan 1 instance of each of the 3 types</a:t>
            </a:r>
          </a:p>
          <a:p>
            <a:r>
              <a:rPr lang="en-US" dirty="0"/>
              <a:t>Could even be narrowed down by importance - </a:t>
            </a:r>
          </a:p>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979F115-276E-304A-A494-B409B03F27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42218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29708878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pn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tiff"/><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8" Type="http://schemas.openxmlformats.org/officeDocument/2006/relationships/hyperlink" Target="https://twitter.com/IBMSecurity?ref_src=twsrc%5egoogle|twcamp%5eserp|twgr%5eauthor" TargetMode="External"/><Relationship Id="rId3" Type="http://schemas.openxmlformats.org/officeDocument/2006/relationships/image" Target="../media/image24.png"/><Relationship Id="rId7" Type="http://schemas.openxmlformats.org/officeDocument/2006/relationships/hyperlink" Target="https://exchange.xforce.ibmcloud.com/" TargetMode="External"/><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hyperlink" Target="https://www.ibm.com/security/community" TargetMode="External"/><Relationship Id="rId5" Type="http://schemas.openxmlformats.org/officeDocument/2006/relationships/hyperlink" Target="https://securityintelligence.com/" TargetMode="External"/><Relationship Id="rId4" Type="http://schemas.openxmlformats.org/officeDocument/2006/relationships/hyperlink" Target="https://www.ibm.com/security" TargetMode="External"/><Relationship Id="rId9" Type="http://schemas.openxmlformats.org/officeDocument/2006/relationships/hyperlink" Target="https://www.youtube.com/ibmsecurity" TargetMode="Externa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37.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8" Type="http://schemas.openxmlformats.org/officeDocument/2006/relationships/hyperlink" Target="https://www.youtube.com/user/IBMSecuritySolutions" TargetMode="External"/><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hyperlink" Target="https://www-03.ibm.com/security/" TargetMode="External"/><Relationship Id="rId1" Type="http://schemas.openxmlformats.org/officeDocument/2006/relationships/slideMaster" Target="../slideMasters/slideMaster6.xml"/><Relationship Id="rId6" Type="http://schemas.openxmlformats.org/officeDocument/2006/relationships/image" Target="../media/image39.png"/><Relationship Id="rId11" Type="http://schemas.openxmlformats.org/officeDocument/2006/relationships/image" Target="../media/image35.png"/><Relationship Id="rId5" Type="http://schemas.openxmlformats.org/officeDocument/2006/relationships/hyperlink" Target="https://exchange.xforce.ibmcloud.com/" TargetMode="External"/><Relationship Id="rId10" Type="http://schemas.openxmlformats.org/officeDocument/2006/relationships/image" Target="../media/image36.png"/><Relationship Id="rId4" Type="http://schemas.openxmlformats.org/officeDocument/2006/relationships/hyperlink" Target="http://securityintelligence.com/" TargetMode="External"/><Relationship Id="rId9" Type="http://schemas.openxmlformats.org/officeDocument/2006/relationships/image" Target="../media/image37.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jpeg"/><Relationship Id="rId1" Type="http://schemas.openxmlformats.org/officeDocument/2006/relationships/slideMaster" Target="../slideMasters/slideMaster9.xml"/><Relationship Id="rId4" Type="http://schemas.openxmlformats.org/officeDocument/2006/relationships/image" Target="../media/image52.png"/></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59.emf"/><Relationship Id="rId1" Type="http://schemas.openxmlformats.org/officeDocument/2006/relationships/slideMaster" Target="../slideMasters/slideMaster9.xml"/><Relationship Id="rId4" Type="http://schemas.openxmlformats.org/officeDocument/2006/relationships/image" Target="../media/image61.emf"/></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2.wmf"/><Relationship Id="rId2" Type="http://schemas.openxmlformats.org/officeDocument/2006/relationships/oleObject" Target="../embeddings/oleObject6.bin"/><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34" name="Slide Number"/>
          <p:cNvSpPr txBox="1">
            <a:spLocks noGrp="1"/>
          </p:cNvSpPr>
          <p:nvPr>
            <p:ph type="sldNum" sz="quarter" idx="2"/>
          </p:nvPr>
        </p:nvSpPr>
        <p:spPr>
          <a:xfrm>
            <a:off x="22957892" y="12697882"/>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1045952" cy="21336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3316225"/>
            <a:ext cx="10997184" cy="8672577"/>
          </a:xfrm>
        </p:spPr>
        <p:txBody>
          <a:bodyPr/>
          <a:lstStyle>
            <a:lvl1pPr>
              <a:spcBef>
                <a:spcPts val="0"/>
              </a:spcBef>
              <a:defRPr/>
            </a:lvl1pPr>
            <a:lvl2pPr marL="0" indent="0">
              <a:spcBef>
                <a:spcPts val="0"/>
              </a:spcBef>
              <a:buNone/>
              <a:defRPr/>
            </a:lvl2pPr>
            <a:lvl3pPr marL="537135" indent="0">
              <a:buNone/>
              <a:defRPr/>
            </a:lvl3pPr>
            <a:lvl4pPr marL="1158860" indent="0">
              <a:buNone/>
              <a:defRPr/>
            </a:lvl4pPr>
            <a:lvl5pPr marL="16833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585216" y="3316225"/>
            <a:ext cx="10997184" cy="8672577"/>
          </a:xfrm>
        </p:spPr>
        <p:txBody>
          <a:bodyPr/>
          <a:lstStyle>
            <a:lvl1pPr>
              <a:spcBef>
                <a:spcPts val="0"/>
              </a:spcBef>
              <a:defRPr/>
            </a:lvl1pPr>
            <a:lvl2pPr marL="0" indent="0">
              <a:spcBef>
                <a:spcPts val="0"/>
              </a:spcBef>
              <a:buNone/>
              <a:defRPr/>
            </a:lvl2pPr>
            <a:lvl3pPr marL="537135" indent="0">
              <a:buNone/>
              <a:defRPr/>
            </a:lvl3pPr>
            <a:lvl4pPr marL="1158860" indent="0">
              <a:buNone/>
              <a:defRPr/>
            </a:lvl4pPr>
            <a:lvl5pPr marL="16833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03013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8"/>
            <a:ext cx="4901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6681219" y="536448"/>
            <a:ext cx="17093002" cy="11452352"/>
          </a:xfrm>
        </p:spPr>
        <p:txBody>
          <a:bodyPr lIns="0" tIns="0" rIns="91440" bIns="91440"/>
          <a:lstStyle>
            <a:lvl1pPr>
              <a:defRPr b="0" i="0"/>
            </a:lvl1pPr>
          </a:lstStyle>
          <a:p>
            <a:r>
              <a:rPr lang="en-US" dirty="0"/>
              <a:t>Click icon to add tab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053332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4387150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9456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21568" cy="2145792"/>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585216" y="3364997"/>
            <a:ext cx="10997184" cy="3493006"/>
          </a:xfrm>
        </p:spPr>
        <p:txBody>
          <a:bodyPr/>
          <a:lstStyle>
            <a:lvl1pPr>
              <a:spcBef>
                <a:spcPts val="0"/>
              </a:spcBef>
              <a:defRPr sz="2666" b="0" i="0"/>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596423" y="8548527"/>
            <a:ext cx="17081982" cy="3493002"/>
          </a:xfrm>
        </p:spPr>
        <p:txBody>
          <a:bodyPr anchor="b"/>
          <a:lstStyle>
            <a:lvl1pPr>
              <a:spcBef>
                <a:spcPts val="800"/>
              </a:spcBef>
              <a:defRPr sz="1600" b="0" i="0"/>
            </a:lvl1pPr>
            <a:lvl2pPr>
              <a:defRPr sz="1600"/>
            </a:lvl2pPr>
            <a:lvl3pPr>
              <a:defRPr sz="1600"/>
            </a:lvl3pPr>
            <a:lvl4pPr>
              <a:defRPr sz="1600"/>
            </a:lvl4pPr>
            <a:lvl5pPr>
              <a:defRPr sz="1600"/>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230111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469213" y="6174981"/>
            <a:ext cx="3445586" cy="1366050"/>
          </a:xfrm>
          <a:prstGeom prst="rect">
            <a:avLst/>
          </a:prstGeom>
        </p:spPr>
      </p:pic>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65717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D. Green half">
    <p:bg>
      <p:bgPr>
        <a:gradFill>
          <a:gsLst>
            <a:gs pos="0">
              <a:srgbClr val="4A6C9C"/>
            </a:gs>
            <a:gs pos="100000">
              <a:srgbClr val="2E5597"/>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3178" y="3178"/>
          <a:ext cx="3176" cy="3176"/>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3178" y="3178"/>
                        <a:ext cx="3176" cy="3176"/>
                      </a:xfrm>
                      <a:prstGeom prst="rect">
                        <a:avLst/>
                      </a:prstGeom>
                    </p:spPr>
                  </p:pic>
                </p:oleObj>
              </mc:Fallback>
            </mc:AlternateContent>
          </a:graphicData>
        </a:graphic>
      </p:graphicFrame>
      <p:sp>
        <p:nvSpPr>
          <p:cNvPr id="11" name="Rectangle 10"/>
          <p:cNvSpPr/>
          <p:nvPr userDrawn="1"/>
        </p:nvSpPr>
        <p:spPr>
          <a:xfrm>
            <a:off x="12192000" y="0"/>
            <a:ext cx="12192000" cy="13716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b="0" i="0" dirty="0">
              <a:solidFill>
                <a:schemeClr val="bg1"/>
              </a:solidFill>
              <a:latin typeface="IBM Plex Sans" panose="020B0503050203000203" pitchFamily="34" charset="0"/>
              <a:ea typeface="+mn-ea"/>
              <a:cs typeface="+mn-cs"/>
              <a:sym typeface="+mn-lt"/>
            </a:endParaRPr>
          </a:p>
        </p:txBody>
      </p:sp>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val="0"/>
              </a:ext>
            </a:extLst>
          </a:blip>
          <a:srcRect l="13201" t="29195" r="10066" b="29195"/>
          <a:stretch/>
        </p:blipFill>
        <p:spPr>
          <a:xfrm rot="16200000">
            <a:off x="23413279" y="12519030"/>
            <a:ext cx="1155702" cy="462280"/>
          </a:xfrm>
          <a:prstGeom prst="rect">
            <a:avLst/>
          </a:prstGeom>
        </p:spPr>
      </p:pic>
      <p:sp>
        <p:nvSpPr>
          <p:cNvPr id="12" name="Picture Placeholder 18"/>
          <p:cNvSpPr>
            <a:spLocks noGrp="1"/>
          </p:cNvSpPr>
          <p:nvPr>
            <p:ph type="pic" sz="quarter" idx="14" hasCustomPrompt="1"/>
          </p:nvPr>
        </p:nvSpPr>
        <p:spPr>
          <a:xfrm>
            <a:off x="12184045" y="0"/>
            <a:ext cx="12199954" cy="13716000"/>
          </a:xfrm>
          <a:prstGeom prst="rect">
            <a:avLst/>
          </a:prstGeom>
          <a:noFill/>
        </p:spPr>
        <p:txBody>
          <a:bodyPr lIns="914400" tIns="914400" rIns="914400" bIns="914400"/>
          <a:lstStyle>
            <a:lvl1pPr algn="ctr">
              <a:defRPr sz="3600" b="0" i="0" baseline="0">
                <a:latin typeface="IBM Plex Sans" panose="020B0503050203000203" pitchFamily="34" charset="0"/>
                <a:ea typeface="+mn-ea"/>
                <a:cs typeface="+mn-cs"/>
                <a:sym typeface="+mn-lt"/>
              </a:defRPr>
            </a:lvl1pPr>
          </a:lstStyle>
          <a:p>
            <a:r>
              <a:rPr lang="en-US" dirty="0"/>
              <a:t>Click icon below to insert an image or remove this placeholder to use the whitespace in another way</a:t>
            </a:r>
          </a:p>
        </p:txBody>
      </p:sp>
      <p:sp>
        <p:nvSpPr>
          <p:cNvPr id="15" name="Date Placeholder 2"/>
          <p:cNvSpPr>
            <a:spLocks noGrp="1"/>
          </p:cNvSpPr>
          <p:nvPr>
            <p:ph type="dt" sz="half" idx="15"/>
          </p:nvPr>
        </p:nvSpPr>
        <p:spPr>
          <a:xfrm>
            <a:off x="19354803" y="12789554"/>
            <a:ext cx="2964102" cy="328296"/>
          </a:xfrm>
          <a:prstGeom prst="rect">
            <a:avLst/>
          </a:prstGeom>
        </p:spPr>
        <p:txBody>
          <a:bodyPr/>
          <a:lstStyle>
            <a:lvl1pPr>
              <a:defRPr b="0" i="0">
                <a:solidFill>
                  <a:schemeClr val="bg1">
                    <a:lumMod val="50000"/>
                  </a:schemeClr>
                </a:solidFill>
                <a:latin typeface="IBM Plex Sans" panose="020B0503050203000203" pitchFamily="34" charset="0"/>
                <a:ea typeface="+mn-ea"/>
                <a:cs typeface="+mn-cs"/>
                <a:sym typeface="+mn-lt"/>
              </a:defRPr>
            </a:lvl1pPr>
          </a:lstStyle>
          <a:p>
            <a:endParaRPr lang="en-US" dirty="0"/>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11379167" y="0"/>
            <a:ext cx="833902" cy="13716000"/>
          </a:xfrm>
          <a:prstGeom prst="rect">
            <a:avLst/>
          </a:prstGeom>
        </p:spPr>
      </p:pic>
      <p:sp>
        <p:nvSpPr>
          <p:cNvPr id="13" name="Title 1"/>
          <p:cNvSpPr>
            <a:spLocks noGrp="1"/>
          </p:cNvSpPr>
          <p:nvPr>
            <p:ph type="title" hasCustomPrompt="1"/>
          </p:nvPr>
        </p:nvSpPr>
        <p:spPr bwMode="blackWhite">
          <a:xfrm>
            <a:off x="522639" y="3571200"/>
            <a:ext cx="9397530" cy="6573600"/>
          </a:xfrm>
          <a:prstGeom prst="rect">
            <a:avLst/>
          </a:prstGeom>
          <a:noFill/>
        </p:spPr>
        <p:txBody>
          <a:bodyPr wrap="square" lIns="0" tIns="0" rIns="320040" bIns="0" anchor="ctr">
            <a:noAutofit/>
          </a:bodyPr>
          <a:lstStyle>
            <a:lvl1pPr>
              <a:defRPr sz="9066" b="0" i="0">
                <a:solidFill>
                  <a:schemeClr val="bg1"/>
                </a:solidFill>
                <a:latin typeface="IBM Plex Sans" panose="020B0503050203000203" pitchFamily="34" charset="0"/>
                <a:ea typeface="+mj-ea"/>
                <a:cs typeface="+mj-cs"/>
                <a:sym typeface="+mj-lt"/>
              </a:defRPr>
            </a:lvl1pPr>
          </a:lstStyle>
          <a:p>
            <a:r>
              <a:rPr lang="en-US" dirty="0"/>
              <a:t>Click to add title</a:t>
            </a:r>
          </a:p>
        </p:txBody>
      </p:sp>
      <p:sp>
        <p:nvSpPr>
          <p:cNvPr id="14" name="TextBox 13"/>
          <p:cNvSpPr txBox="1"/>
          <p:nvPr userDrawn="1"/>
        </p:nvSpPr>
        <p:spPr>
          <a:xfrm>
            <a:off x="522639" y="13197386"/>
            <a:ext cx="468922" cy="254000"/>
          </a:xfrm>
          <a:prstGeom prst="rect">
            <a:avLst/>
          </a:prstGeom>
          <a:noFill/>
        </p:spPr>
        <p:txBody>
          <a:bodyPr vert="horz" wrap="none" lIns="0" tIns="0" rIns="0" bIns="0" rtlCol="0" anchor="t" anchorCtr="0">
            <a:noAutofit/>
          </a:bodyPr>
          <a:lstStyle>
            <a:defPPr>
              <a:defRPr lang="en-US"/>
            </a:defPPr>
            <a:lvl1pPr marR="0" lvl="0" indent="0" fontAlgn="auto">
              <a:lnSpc>
                <a:spcPct val="100000"/>
              </a:lnSpc>
              <a:spcBef>
                <a:spcPct val="0"/>
              </a:spcBef>
              <a:spcAft>
                <a:spcPct val="0"/>
              </a:spcAft>
              <a:buClrTx/>
              <a:buSzTx/>
              <a:buFontTx/>
              <a:buNone/>
              <a:tabLst/>
              <a:defRPr sz="800" b="0" i="0" u="none" spc="0">
                <a:solidFill>
                  <a:srgbClr val="FFFFFF"/>
                </a:solidFill>
                <a:latin typeface="Arial" panose="020B0604020202020204" pitchFamily="34" charset="0"/>
              </a:defRPr>
            </a:lvl1pPr>
          </a:lstStyle>
          <a:p>
            <a:pPr lvl="0"/>
            <a:fld id="{DFCF27A5-1A5B-48D3-A060-2758FFBB1ADD}" type="slidenum">
              <a:rPr lang="en-US" sz="2134" b="0" i="0" smtClean="0">
                <a:latin typeface="IBM Plex Sans" panose="020B0503050203000203" pitchFamily="34" charset="0"/>
                <a:sym typeface="+mn-lt"/>
              </a:rPr>
              <a:pPr lvl="0"/>
              <a:t>‹#›</a:t>
            </a:fld>
            <a:endParaRPr lang="en-US" sz="2134" b="0" i="0" dirty="0">
              <a:latin typeface="IBM Plex Sans" panose="020B0503050203000203" pitchFamily="34" charset="0"/>
              <a:sym typeface="+mn-lt"/>
            </a:endParaRPr>
          </a:p>
        </p:txBody>
      </p:sp>
      <p:sp>
        <p:nvSpPr>
          <p:cNvPr id="17" name="Copyright" hidden="1"/>
          <p:cNvSpPr txBox="1"/>
          <p:nvPr userDrawn="1"/>
        </p:nvSpPr>
        <p:spPr>
          <a:xfrm rot="16200000">
            <a:off x="18973807" y="6701990"/>
            <a:ext cx="10267950" cy="193899"/>
          </a:xfrm>
          <a:prstGeom prst="rect">
            <a:avLst/>
          </a:prstGeom>
          <a:noFill/>
        </p:spPr>
        <p:txBody>
          <a:bodyPr wrap="square" lIns="0" tIns="0" rIns="0" bIns="0" rtlCol="0" anchor="t">
            <a:spAutoFit/>
          </a:bodyPr>
          <a:lstStyle/>
          <a:p>
            <a:pPr>
              <a:lnSpc>
                <a:spcPct val="90000"/>
              </a:lnSpc>
              <a:spcAft>
                <a:spcPts val="1200"/>
              </a:spcAft>
            </a:pPr>
            <a:r>
              <a:rPr lang="en-US" sz="1400" b="0" i="0" dirty="0">
                <a:solidFill>
                  <a:schemeClr val="bg1">
                    <a:lumMod val="50000"/>
                  </a:schemeClr>
                </a:solidFill>
                <a:latin typeface="IBM Plex Sans" panose="020B0503050203000203"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316742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Text 1">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8B5DA42-2028-424E-B6F6-4F9D62B29B1F}"/>
              </a:ext>
            </a:extLst>
          </p:cNvPr>
          <p:cNvGraphicFramePr>
            <a:graphicFrameLocks noChangeAspect="1"/>
          </p:cNvGraphicFramePr>
          <p:nvPr userDrawn="1">
            <p:custDataLst>
              <p:tags r:id="rId1"/>
            </p:custDataLst>
          </p:nvPr>
        </p:nvGraphicFramePr>
        <p:xfrm>
          <a:off x="4236" y="4236"/>
          <a:ext cx="4232" cy="4232"/>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Object 27" hidden="1">
                        <a:extLst>
                          <a:ext uri="{FF2B5EF4-FFF2-40B4-BE49-F238E27FC236}">
                            <a16:creationId xmlns:a16="http://schemas.microsoft.com/office/drawing/2014/main" id="{78B5DA42-2028-424E-B6F6-4F9D62B29B1F}"/>
                          </a:ext>
                        </a:extLst>
                      </p:cNvPr>
                      <p:cNvPicPr/>
                      <p:nvPr/>
                    </p:nvPicPr>
                    <p:blipFill>
                      <a:blip r:embed="rId5"/>
                      <a:stretch>
                        <a:fillRect/>
                      </a:stretch>
                    </p:blipFill>
                    <p:spPr>
                      <a:xfrm>
                        <a:off x="4236" y="4236"/>
                        <a:ext cx="4232" cy="4232"/>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70E699B1-5FD6-AE4F-8443-9018BD44C007}"/>
              </a:ext>
            </a:extLst>
          </p:cNvPr>
          <p:cNvSpPr>
            <a:spLocks noGrp="1"/>
          </p:cNvSpPr>
          <p:nvPr>
            <p:ph sz="quarter" idx="10"/>
          </p:nvPr>
        </p:nvSpPr>
        <p:spPr>
          <a:xfrm>
            <a:off x="522638" y="1796397"/>
            <a:ext cx="23105464" cy="10875434"/>
          </a:xfrm>
        </p:spPr>
        <p:txBody>
          <a:bodyPr/>
          <a:lstStyle>
            <a:lvl1pPr>
              <a:defRPr b="0" i="0">
                <a:latin typeface="IBM Plex Sans" panose="020B0503050203000203" pitchFamily="34" charset="0"/>
                <a:ea typeface="+mn-ea"/>
                <a:cs typeface="+mn-cs"/>
                <a:sym typeface="+mn-lt"/>
              </a:defRPr>
            </a:lvl1pPr>
            <a:lvl2pPr>
              <a:defRPr b="0" i="0">
                <a:latin typeface="IBM Plex Sans" panose="020B0503050203000203" pitchFamily="34" charset="0"/>
                <a:ea typeface="+mn-ea"/>
                <a:cs typeface="+mn-cs"/>
                <a:sym typeface="+mn-lt"/>
              </a:defRPr>
            </a:lvl2pPr>
            <a:lvl3pPr>
              <a:defRPr b="0" i="0">
                <a:latin typeface="IBM Plex Sans" panose="020B0503050203000203" pitchFamily="34" charset="0"/>
                <a:ea typeface="+mn-ea"/>
                <a:cs typeface="+mn-cs"/>
                <a:sym typeface="+mn-lt"/>
              </a:defRPr>
            </a:lvl3pPr>
            <a:lvl4pPr>
              <a:defRPr b="0" i="0">
                <a:latin typeface="IBM Plex Sans" panose="020B0503050203000203" pitchFamily="34" charset="0"/>
                <a:ea typeface="+mn-ea"/>
                <a:cs typeface="+mn-cs"/>
                <a:sym typeface="+mn-lt"/>
              </a:defRPr>
            </a:lvl4pPr>
            <a:lvl5pPr>
              <a:defRPr b="0" i="0">
                <a:latin typeface="IBM Plex Sans" panose="020B0503050203000203" pitchFamily="34" charset="0"/>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1FF23A64-81C7-2A43-83D6-E8CAB5627598}"/>
              </a:ext>
            </a:extLst>
          </p:cNvPr>
          <p:cNvSpPr txBox="1"/>
          <p:nvPr userDrawn="1">
            <p:custDataLst>
              <p:tags r:id="rId2"/>
            </p:custDataLst>
          </p:nvPr>
        </p:nvSpPr>
        <p:spPr>
          <a:xfrm>
            <a:off x="10029138" y="12935851"/>
            <a:ext cx="5032147" cy="780281"/>
          </a:xfrm>
          <a:prstGeom prst="rect">
            <a:avLst/>
          </a:prstGeom>
          <a:noFill/>
        </p:spPr>
        <p:txBody>
          <a:bodyPr wrap="none" tIns="240000" bIns="240000" rtlCol="0" anchor="t">
            <a:spAutoFit/>
          </a:bodyPr>
          <a:lstStyle/>
          <a:p>
            <a:pPr marL="0" indent="0" algn="ctr" defTabSz="2438340" fontAlgn="base">
              <a:lnSpc>
                <a:spcPct val="90000"/>
              </a:lnSpc>
              <a:spcBef>
                <a:spcPct val="0"/>
              </a:spcBef>
              <a:spcAft>
                <a:spcPct val="0"/>
              </a:spcAft>
              <a:buFontTx/>
              <a:buNone/>
            </a:pPr>
            <a:r>
              <a:rPr lang="en-US" sz="2134" b="0" i="0" dirty="0">
                <a:solidFill>
                  <a:srgbClr val="191919"/>
                </a:solidFill>
                <a:latin typeface="IBM Plex Sans" panose="020B0503050203000203" pitchFamily="34" charset="0"/>
                <a:ea typeface="+mn-ea"/>
                <a:cs typeface="+mn-cs"/>
                <a:sym typeface="+mn-lt"/>
              </a:rPr>
              <a:t>IBM Confidential: Project ORANGE NDA</a:t>
            </a:r>
          </a:p>
        </p:txBody>
      </p:sp>
      <p:sp>
        <p:nvSpPr>
          <p:cNvPr id="7" name="Title Placeholder 1"/>
          <p:cNvSpPr>
            <a:spLocks noGrp="1"/>
          </p:cNvSpPr>
          <p:nvPr>
            <p:ph type="title"/>
          </p:nvPr>
        </p:nvSpPr>
        <p:spPr>
          <a:xfrm>
            <a:off x="522638" y="371386"/>
            <a:ext cx="23105464" cy="1376240"/>
          </a:xfrm>
          <a:prstGeom prst="rect">
            <a:avLst/>
          </a:prstGeom>
        </p:spPr>
        <p:txBody>
          <a:bodyPr vert="horz" wrap="square" lIns="0" tIns="36576" rIns="0" bIns="36576" rtlCol="0" anchor="t">
            <a:noAutofit/>
          </a:bodyPr>
          <a:lstStyle>
            <a:lvl1pPr>
              <a:defRPr sz="5334" b="0" i="0">
                <a:solidFill>
                  <a:srgbClr val="4C6C9C"/>
                </a:solidFill>
                <a:latin typeface="IBM Plex Sans" panose="020B0503050203000203" pitchFamily="34" charset="0"/>
                <a:ea typeface="+mj-ea"/>
                <a:cs typeface="+mj-cs"/>
                <a:sym typeface="+mj-lt"/>
              </a:defRPr>
            </a:lvl1pPr>
          </a:lstStyle>
          <a:p>
            <a:r>
              <a:rPr lang="en-US" dirty="0"/>
              <a:t>Click to add title</a:t>
            </a:r>
          </a:p>
        </p:txBody>
      </p:sp>
      <p:sp>
        <p:nvSpPr>
          <p:cNvPr id="11" name="Copyright" hidden="1"/>
          <p:cNvSpPr txBox="1"/>
          <p:nvPr userDrawn="1"/>
        </p:nvSpPr>
        <p:spPr>
          <a:xfrm rot="16200000">
            <a:off x="18973807" y="6701994"/>
            <a:ext cx="10267950" cy="193899"/>
          </a:xfrm>
          <a:prstGeom prst="rect">
            <a:avLst/>
          </a:prstGeom>
          <a:noFill/>
        </p:spPr>
        <p:txBody>
          <a:bodyPr wrap="square" lIns="0" tIns="0" rIns="0" bIns="0" rtlCol="0" anchor="t">
            <a:spAutoFit/>
          </a:bodyPr>
          <a:lstStyle/>
          <a:p>
            <a:pPr>
              <a:lnSpc>
                <a:spcPct val="90000"/>
              </a:lnSpc>
              <a:spcAft>
                <a:spcPts val="1200"/>
              </a:spcAft>
            </a:pPr>
            <a:r>
              <a:rPr lang="en-US" sz="1400" b="0" i="0" dirty="0">
                <a:solidFill>
                  <a:schemeClr val="bg1">
                    <a:lumMod val="50000"/>
                  </a:schemeClr>
                </a:solidFill>
                <a:latin typeface="IBM Plex Sans" panose="020B0503050203000203"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741309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p15:clr>
            <a:srgbClr val="CCCCCC"/>
          </p15:clr>
        </p15:guide>
        <p15:guide id="2" pos="5536">
          <p15:clr>
            <a:srgbClr val="CCCCCC"/>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1_Quote">
    <p:bg>
      <p:bgPr>
        <a:solidFill>
          <a:srgbClr val="002D9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3179" y="3179"/>
          <a:ext cx="3174" cy="3174"/>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3179" y="3179"/>
                        <a:ext cx="3174" cy="3174"/>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13594925" y="202889"/>
            <a:ext cx="1538514" cy="2003964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5"/>
            <a:ext cx="24384000" cy="11734670"/>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F62FE"/>
          </a:solidFill>
          <a:ln>
            <a:noFill/>
          </a:ln>
          <a:effectLst/>
        </p:spPr>
        <p:txBody>
          <a:bodyPr vert="horz" wrap="square" lIns="182880" tIns="91440" rIns="182880" bIns="91440" numCol="1" anchor="t" anchorCtr="0" compatLnSpc="1">
            <a:prstTxWarp prst="textNoShape">
              <a:avLst/>
            </a:prstTxWarp>
            <a:noAutofit/>
          </a:bodyPr>
          <a:lstStyle/>
          <a:p>
            <a:endParaRPr lang="en-US" sz="2702" b="0" i="0" dirty="0">
              <a:latin typeface="IBM Plex Sans" panose="020B0503050203000203" pitchFamily="34" charset="0"/>
              <a:ea typeface="+mn-ea"/>
              <a:cs typeface="+mn-cs"/>
              <a:sym typeface="+mn-lt"/>
            </a:endParaRPr>
          </a:p>
        </p:txBody>
      </p:sp>
      <p:sp>
        <p:nvSpPr>
          <p:cNvPr id="8" name="Footer Placeholder"/>
          <p:cNvSpPr>
            <a:spLocks noGrp="1"/>
          </p:cNvSpPr>
          <p:nvPr>
            <p:ph type="ftr" sz="quarter" idx="3"/>
          </p:nvPr>
        </p:nvSpPr>
        <p:spPr>
          <a:xfrm>
            <a:off x="609779" y="12767737"/>
            <a:ext cx="10972626"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rgbClr val="FFFFFF"/>
                </a:solidFill>
                <a:latin typeface="IBM Plex Sans" panose="020B0503050203000203" pitchFamily="34" charset="0"/>
                <a:ea typeface="+mn-ea"/>
                <a:cs typeface="+mn-cs"/>
                <a:sym typeface="+mn-lt"/>
              </a:defRPr>
            </a:lvl1pPr>
          </a:lstStyle>
          <a:p>
            <a:r>
              <a:rPr lang="en-US" dirty="0"/>
              <a:t>Group Name / DOC ID / Month XX, 2020 / © 2020 IBM Corporation</a:t>
            </a:r>
          </a:p>
        </p:txBody>
      </p:sp>
      <p:sp>
        <p:nvSpPr>
          <p:cNvPr id="9" name="TextBox 8"/>
          <p:cNvSpPr txBox="1"/>
          <p:nvPr userDrawn="1"/>
        </p:nvSpPr>
        <p:spPr>
          <a:xfrm>
            <a:off x="18897607" y="12767737"/>
            <a:ext cx="4876618" cy="444498"/>
          </a:xfrm>
          <a:prstGeom prst="rect">
            <a:avLst/>
          </a:prstGeom>
          <a:noFill/>
        </p:spPr>
        <p:txBody>
          <a:bodyPr wrap="none" lIns="0" tIns="0" rIns="0" bIns="0" rtlCol="0" anchor="ctr">
            <a:noAutofit/>
          </a:bodyPr>
          <a:lstStyle/>
          <a:p>
            <a:pPr algn="r"/>
            <a:fld id="{34856D3D-2F6C-4AE1-882B-D3A5A57C1B76}" type="slidenum">
              <a:rPr lang="en-US" sz="1600" b="0" i="0" smtClean="0">
                <a:solidFill>
                  <a:srgbClr val="FFFFFF"/>
                </a:solidFill>
                <a:latin typeface="IBM Plex Sans" panose="020B0503050203000203" pitchFamily="34" charset="0"/>
                <a:ea typeface="+mn-ea"/>
                <a:cs typeface="+mn-cs"/>
                <a:sym typeface="+mn-lt"/>
              </a:rPr>
              <a:pPr algn="r"/>
              <a:t>‹#›</a:t>
            </a:fld>
            <a:endParaRPr lang="en-US" sz="1600" b="0" i="0" dirty="0">
              <a:solidFill>
                <a:srgbClr val="FFFFFF"/>
              </a:solidFill>
              <a:latin typeface="IBM Plex Sans" panose="020B0503050203000203" pitchFamily="34" charset="0"/>
              <a:ea typeface="+mn-ea"/>
              <a:cs typeface="+mn-cs"/>
              <a:sym typeface="+mn-lt"/>
            </a:endParaRPr>
          </a:p>
        </p:txBody>
      </p:sp>
    </p:spTree>
    <p:extLst>
      <p:ext uri="{BB962C8B-B14F-4D97-AF65-F5344CB8AC3E}">
        <p14:creationId xmlns:p14="http://schemas.microsoft.com/office/powerpoint/2010/main" val="4262132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3178" y="3178"/>
          <a:ext cx="3176" cy="3176"/>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3178" y="3178"/>
                        <a:ext cx="3176" cy="3176"/>
                      </a:xfrm>
                      <a:prstGeom prst="rect">
                        <a:avLst/>
                      </a:prstGeom>
                    </p:spPr>
                  </p:pic>
                </p:oleObj>
              </mc:Fallback>
            </mc:AlternateContent>
          </a:graphicData>
        </a:graphic>
      </p:graphicFrame>
      <p:sp>
        <p:nvSpPr>
          <p:cNvPr id="4" name="Rectangle 3" hidden="1"/>
          <p:cNvSpPr/>
          <p:nvPr userDrawn="1">
            <p:custDataLst>
              <p:tags r:id="rId2"/>
            </p:custDataLst>
          </p:nvPr>
        </p:nvSpPr>
        <p:spPr bwMode="auto">
          <a:xfrm>
            <a:off x="1" y="1"/>
            <a:ext cx="423334" cy="423334"/>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rtlCol="0" anchor="t" anchorCtr="0" compatLnSpc="1">
            <a:prstTxWarp prst="textNoShape">
              <a:avLst/>
            </a:prstTxWarp>
          </a:bodyPr>
          <a:lstStyle/>
          <a:p>
            <a:pPr marL="0" marR="0" lvl="0" indent="0" algn="l" defTabSz="2438340" rtl="0" eaLnBrk="1" fontAlgn="base" latinLnBrk="0" hangingPunct="1">
              <a:lnSpc>
                <a:spcPct val="90000"/>
              </a:lnSpc>
              <a:spcBef>
                <a:spcPct val="0"/>
              </a:spcBef>
              <a:spcAft>
                <a:spcPct val="0"/>
              </a:spcAft>
              <a:buClrTx/>
              <a:buSzTx/>
              <a:buFontTx/>
              <a:buNone/>
              <a:tabLst/>
            </a:pPr>
            <a:endParaRPr kumimoji="0" lang="en-US" sz="10800" b="0" i="0" u="none" strike="noStrike" cap="none" normalizeH="0" baseline="0" dirty="0">
              <a:ln>
                <a:noFill/>
              </a:ln>
              <a:solidFill>
                <a:schemeClr val="bg1"/>
              </a:solidFill>
              <a:effectLst/>
              <a:latin typeface="IBM Plex Sans" panose="020B0503050203000203" pitchFamily="34" charset="0"/>
              <a:ea typeface="+mj-ea"/>
              <a:cs typeface="+mj-cs"/>
              <a:sym typeface="Arial" panose="020B0604020202020204" pitchFamily="34" charset="0"/>
            </a:endParaRPr>
          </a:p>
        </p:txBody>
      </p:sp>
      <p:sp>
        <p:nvSpPr>
          <p:cNvPr id="16" name="Title"/>
          <p:cNvSpPr>
            <a:spLocks noGrp="1"/>
          </p:cNvSpPr>
          <p:nvPr>
            <p:ph type="title"/>
          </p:nvPr>
        </p:nvSpPr>
        <p:spPr>
          <a:xfrm>
            <a:off x="560832" y="536448"/>
            <a:ext cx="11045952" cy="11452352"/>
          </a:xfrm>
        </p:spPr>
        <p:txBody>
          <a:bodyPr/>
          <a:lstStyle>
            <a:lvl1pPr>
              <a:defRPr b="0" i="0">
                <a:solidFill>
                  <a:schemeClr val="bg1"/>
                </a:solidFill>
                <a:latin typeface="IBM Plex Sans" panose="020B0503050203000203" pitchFamily="34" charset="0"/>
                <a:ea typeface="+mj-ea"/>
                <a:cs typeface="+mj-cs"/>
                <a:sym typeface="+mj-lt"/>
              </a:defRPr>
            </a:lvl1pPr>
          </a:lstStyle>
          <a:p>
            <a:r>
              <a:rPr lang="en-US" dirty="0"/>
              <a:t>Click to edit Master title style</a:t>
            </a:r>
          </a:p>
        </p:txBody>
      </p:sp>
      <p:sp>
        <p:nvSpPr>
          <p:cNvPr id="17" name="Footer Placeholder"/>
          <p:cNvSpPr>
            <a:spLocks noGrp="1"/>
          </p:cNvSpPr>
          <p:nvPr>
            <p:ph type="ftr" sz="quarter" idx="10"/>
          </p:nvPr>
        </p:nvSpPr>
        <p:spPr>
          <a:xfrm>
            <a:off x="609779" y="12767737"/>
            <a:ext cx="10972626" cy="444498"/>
          </a:xfrm>
        </p:spPr>
        <p:txBody>
          <a:bodyPr/>
          <a:lstStyle>
            <a:lvl1pPr>
              <a:defRPr b="0" i="0">
                <a:solidFill>
                  <a:schemeClr val="bg1"/>
                </a:solidFill>
                <a:latin typeface="IBM Plex Sans" panose="020B0503050203000203" pitchFamily="34" charset="0"/>
                <a:ea typeface="+mn-ea"/>
                <a:cs typeface="+mn-cs"/>
                <a:sym typeface="+mn-lt"/>
              </a:defRPr>
            </a:lvl1pPr>
          </a:lstStyle>
          <a:p>
            <a:r>
              <a:rPr lang="en-US" dirty="0"/>
              <a:t>Group Name / DOC ID / Month XX, 2020 / © 2020 IBM Corporation</a:t>
            </a:r>
          </a:p>
        </p:txBody>
      </p:sp>
      <p:pic>
        <p:nvPicPr>
          <p:cNvPr id="19" name="Picture" descr="IBM 8-bar logo"/>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2383500" y="12514875"/>
            <a:ext cx="1390904" cy="551442"/>
          </a:xfrm>
          <a:prstGeom prst="rect">
            <a:avLst/>
          </a:prstGeom>
        </p:spPr>
      </p:pic>
    </p:spTree>
    <p:extLst>
      <p:ext uri="{BB962C8B-B14F-4D97-AF65-F5344CB8AC3E}">
        <p14:creationId xmlns:p14="http://schemas.microsoft.com/office/powerpoint/2010/main" val="346867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text (two columns)">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89D07A6B-424E-5543-A249-DAC167B9A421}"/>
              </a:ext>
              <a:ext uri="{C183D7F6-B498-43B3-948B-1728B52AA6E4}">
                <adec:decorative xmlns:adec="http://schemas.microsoft.com/office/drawing/2017/decorative" val="1"/>
              </a:ext>
            </a:extLst>
          </p:cNvPr>
          <p:cNvSpPr/>
          <p:nvPr userDrawn="1"/>
        </p:nvSpPr>
        <p:spPr>
          <a:xfrm>
            <a:off x="6096000" y="0"/>
            <a:ext cx="18288000" cy="13716000"/>
          </a:xfrm>
          <a:prstGeom prst="rect">
            <a:avLst/>
          </a:prstGeom>
          <a:solidFill>
            <a:schemeClr val="bg1"/>
          </a:solidFill>
        </p:spPr>
        <p:txBody>
          <a:bodyPr wrap="square" lIns="0" tIns="0" rIns="0" bIns="0" rtlCol="0" anchor="ctr">
            <a:noAutofit/>
          </a:bodyPr>
          <a:lstStyle/>
          <a:p>
            <a:pPr algn="ctr"/>
            <a:endParaRPr lang="en-US" sz="3196"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72585838" y="828360"/>
            <a:ext cx="11045952" cy="2145792"/>
          </a:xfrm>
        </p:spPr>
        <p:txBody>
          <a:bodyPr/>
          <a:lstStyle/>
          <a:p>
            <a:r>
              <a:rPr lang="en-US" dirty="0"/>
              <a:t>Click to edit Master title style</a:t>
            </a:r>
          </a:p>
        </p:txBody>
      </p:sp>
      <p:sp>
        <p:nvSpPr>
          <p:cNvPr id="8" name="Text Placeholder 1"/>
          <p:cNvSpPr>
            <a:spLocks noGrp="1"/>
          </p:cNvSpPr>
          <p:nvPr>
            <p:ph type="body" sz="quarter" idx="13"/>
          </p:nvPr>
        </p:nvSpPr>
        <p:spPr>
          <a:xfrm>
            <a:off x="585216" y="1641888"/>
            <a:ext cx="4901184" cy="8672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705601" y="1641888"/>
            <a:ext cx="10997002" cy="8672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585218" y="535952"/>
            <a:ext cx="4901184" cy="1208684"/>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72978435" y="5147203"/>
            <a:ext cx="4527550" cy="51133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6566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585216" y="585215"/>
            <a:ext cx="11021568" cy="2145792"/>
          </a:xfrm>
        </p:spPr>
        <p:txBody>
          <a:bodyPr/>
          <a:lstStyle>
            <a:lvl1pPr>
              <a:defRPr sz="426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365760" y="3023616"/>
            <a:ext cx="11216640" cy="8965184"/>
          </a:xfrm>
        </p:spPr>
        <p:txBody>
          <a:bodyPr/>
          <a:lstStyle>
            <a:lvl1pPr>
              <a:lnSpc>
                <a:spcPct val="90000"/>
              </a:lnSpc>
              <a:defRPr sz="25576" b="1"/>
            </a:lvl1pPr>
          </a:lstStyle>
          <a:p>
            <a:pPr lvl="0"/>
            <a:r>
              <a:rPr lang="en-US"/>
              <a:t>Click to edit Master text styles</a:t>
            </a:r>
          </a:p>
        </p:txBody>
      </p:sp>
    </p:spTree>
    <p:extLst>
      <p:ext uri="{BB962C8B-B14F-4D97-AF65-F5344CB8AC3E}">
        <p14:creationId xmlns:p14="http://schemas.microsoft.com/office/powerpoint/2010/main" val="36387627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pic>
        <p:nvPicPr>
          <p:cNvPr id="6" name="Picture"/>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2383500" y="12513477"/>
            <a:ext cx="1390904" cy="554954"/>
          </a:xfrm>
          <a:prstGeom prst="rect">
            <a:avLst/>
          </a:prstGeom>
        </p:spPr>
      </p:pic>
      <p:pic>
        <p:nvPicPr>
          <p:cNvPr id="5" name="Picture 4">
            <a:extLst>
              <a:ext uri="{FF2B5EF4-FFF2-40B4-BE49-F238E27FC236}">
                <a16:creationId xmlns:a16="http://schemas.microsoft.com/office/drawing/2014/main" id="{046E82DF-4B8D-E540-A3C4-5BE601037E7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8001" t="20400" r="17675" b="20719"/>
          <a:stretch/>
        </p:blipFill>
        <p:spPr>
          <a:xfrm>
            <a:off x="13788659" y="2574974"/>
            <a:ext cx="8594842" cy="7375300"/>
          </a:xfrm>
          <a:prstGeom prst="rect">
            <a:avLst/>
          </a:prstGeom>
        </p:spPr>
      </p:pic>
    </p:spTree>
    <p:extLst>
      <p:ext uri="{BB962C8B-B14F-4D97-AF65-F5344CB8AC3E}">
        <p14:creationId xmlns:p14="http://schemas.microsoft.com/office/powerpoint/2010/main" val="17768671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057808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10997184" cy="8672576"/>
          </a:xfrm>
        </p:spPr>
        <p:txBody>
          <a:bodyPr/>
          <a:lstStyle>
            <a:lvl1pPr>
              <a:spcBef>
                <a:spcPts val="0"/>
              </a:spcBef>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7216" y="3316224"/>
            <a:ext cx="10997184" cy="8672576"/>
          </a:xfrm>
        </p:spPr>
        <p:txBody>
          <a:bodyPr/>
          <a:lstStyle>
            <a:lvl1pPr>
              <a:spcBef>
                <a:spcPts val="0"/>
              </a:spcBef>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75821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a:lvl1pPr>
          </a:lstStyle>
          <a:p>
            <a:r>
              <a:rPr lang="en-US"/>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1"/>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1346177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a:lvl1pPr>
          </a:lstStyle>
          <a:p>
            <a:r>
              <a:rPr lang="en-US"/>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1"/>
            </a:lvl1pPr>
          </a:lstStyle>
          <a:p>
            <a:pPr lvl="0"/>
            <a:r>
              <a:rPr lang="en-US"/>
              <a:t>Click to edit Master text styles</a:t>
            </a:r>
          </a:p>
        </p:txBody>
      </p:sp>
      <p:sp>
        <p:nvSpPr>
          <p:cNvPr id="7" name="Picture Placeholder"/>
          <p:cNvSpPr>
            <a:spLocks noGrp="1"/>
          </p:cNvSpPr>
          <p:nvPr>
            <p:ph type="pic" sz="quarter" idx="13"/>
          </p:nvPr>
        </p:nvSpPr>
        <p:spPr>
          <a:xfrm>
            <a:off x="12192000" y="0"/>
            <a:ext cx="12192000" cy="137160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6243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5" y="243840"/>
            <a:ext cx="23408458" cy="11744960"/>
          </a:xfrm>
        </p:spPr>
        <p:txBody>
          <a:bodyPr/>
          <a:lstStyle>
            <a:lvl1pPr>
              <a:defRPr sz="25600" b="1"/>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5268074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4833426" cy="1145235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5703692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12777216" y="536448"/>
            <a:ext cx="10997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2054126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7221" y="3316224"/>
            <a:ext cx="10997002"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388569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560832" y="3243072"/>
            <a:ext cx="11045952" cy="8745728"/>
          </a:xfrm>
        </p:spPr>
        <p:txBody>
          <a:bodyPr/>
          <a:lstStyle>
            <a:lvl1pPr>
              <a:defRPr sz="6400"/>
            </a:lvl1pPr>
          </a:lstStyle>
          <a:p>
            <a:pPr lvl="0"/>
            <a:r>
              <a:rPr lang="en-US"/>
              <a:t>Click to edit Master text styles</a:t>
            </a:r>
          </a:p>
        </p:txBody>
      </p:sp>
      <p:sp>
        <p:nvSpPr>
          <p:cNvPr id="6" name="Text Placeholder"/>
          <p:cNvSpPr>
            <a:spLocks noGrp="1"/>
          </p:cNvSpPr>
          <p:nvPr>
            <p:ph type="body" sz="quarter" idx="12"/>
          </p:nvPr>
        </p:nvSpPr>
        <p:spPr>
          <a:xfrm>
            <a:off x="12777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64195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12192000" y="1"/>
            <a:ext cx="12192000" cy="13716000"/>
          </a:xfrm>
        </p:spPr>
        <p:txBody>
          <a:bodyPr lIns="91440" tIns="91440" rIns="91440" bIns="91440"/>
          <a:lstStyle>
            <a:lvl1pPr>
              <a:defRPr baseline="0"/>
            </a:lvl1pPr>
          </a:lstStyle>
          <a:p>
            <a:r>
              <a:rPr lang="en-US"/>
              <a:t>Click icon to add picture</a:t>
            </a:r>
          </a:p>
        </p:txBody>
      </p:sp>
      <p:sp>
        <p:nvSpPr>
          <p:cNvPr id="2" name="Title 1"/>
          <p:cNvSpPr>
            <a:spLocks noGrp="1"/>
          </p:cNvSpPr>
          <p:nvPr>
            <p:ph type="title"/>
          </p:nvPr>
        </p:nvSpPr>
        <p:spPr>
          <a:xfrm>
            <a:off x="585216" y="585215"/>
            <a:ext cx="11021568" cy="2145792"/>
          </a:xfrm>
        </p:spPr>
        <p:txBody>
          <a:bodyPr/>
          <a:lstStyle>
            <a:lvl1pPr>
              <a:defRPr sz="426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365760" y="3023616"/>
            <a:ext cx="11216640" cy="8965184"/>
          </a:xfrm>
        </p:spPr>
        <p:txBody>
          <a:bodyPr/>
          <a:lstStyle>
            <a:lvl1pPr>
              <a:lnSpc>
                <a:spcPct val="90000"/>
              </a:lnSpc>
              <a:defRPr sz="25576" b="1"/>
            </a:lvl1pPr>
          </a:lstStyle>
          <a:p>
            <a:pPr lvl="0"/>
            <a:r>
              <a:rPr lang="en-US"/>
              <a:t>Click to edit Master text styles</a:t>
            </a:r>
          </a:p>
        </p:txBody>
      </p:sp>
    </p:spTree>
    <p:extLst>
      <p:ext uri="{BB962C8B-B14F-4D97-AF65-F5344CB8AC3E}">
        <p14:creationId xmlns:p14="http://schemas.microsoft.com/office/powerpoint/2010/main" val="227393690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1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7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3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002398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585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168034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12777216" y="536448"/>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3216" y="536448"/>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8412831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1045770" cy="11452352"/>
          </a:xfrm>
        </p:spPr>
        <p:txBody>
          <a:body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p:nvSpPr>
        <p:spPr>
          <a:xfrm>
            <a:off x="12192000" y="0"/>
            <a:ext cx="12192000" cy="13716000"/>
          </a:xfrm>
          <a:prstGeom prst="rect">
            <a:avLst/>
          </a:prstGeom>
          <a:solidFill>
            <a:schemeClr val="tx1"/>
          </a:solidFill>
        </p:spPr>
        <p:txBody>
          <a:bodyPr wrap="square" lIns="0" tIns="0" rIns="0" bIns="0" rtlCol="0" anchor="ctr">
            <a:noAutofit/>
          </a:bodyPr>
          <a:lstStyle/>
          <a:p>
            <a:pPr algn="ctr"/>
            <a:endParaRPr lang="en-US" sz="3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12777216" y="536448"/>
            <a:ext cx="10997184" cy="114523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9270948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64259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886524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115133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585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81526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2"/>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2000" cy="6862232"/>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289512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4000" cy="6851902"/>
          </a:xfrm>
          <a:noFill/>
        </p:spPr>
        <p:txBody>
          <a:bodyPr lIns="182880" tIns="164592" rIns="228600" bIns="228600"/>
          <a:lstStyle>
            <a:lvl1pPr>
              <a:defRPr sz="12800"/>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000" cy="6862232"/>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6096002" y="6853770"/>
            <a:ext cx="6096000" cy="6862232"/>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12192000" y="6853767"/>
            <a:ext cx="6096000" cy="6862234"/>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18288000" y="6853767"/>
            <a:ext cx="6096000" cy="6862234"/>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88043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65760" y="243839"/>
            <a:ext cx="23408459" cy="11744960"/>
          </a:xfrm>
        </p:spPr>
        <p:txBody>
          <a:bodyPr/>
          <a:lstStyle>
            <a:lvl1pPr>
              <a:defRPr sz="25576" b="1"/>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1351135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4000" cy="103124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074231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4000" cy="13728192"/>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6" y="6858000"/>
            <a:ext cx="6096008" cy="6858000"/>
          </a:xfrm>
          <a:solidFill>
            <a:schemeClr val="tx2"/>
          </a:solidFill>
        </p:spPr>
        <p:txBody>
          <a:bodyPr lIns="219456" tIns="201168" rIns="228600" bIns="228600"/>
          <a:lstStyle>
            <a:lvl1pPr>
              <a:buClr>
                <a:schemeClr val="tx1"/>
              </a:buClr>
              <a:defRPr>
                <a:solidFill>
                  <a:schemeClr val="tx1"/>
                </a:solidFill>
              </a:defRPr>
            </a:lvl1pPr>
            <a:lvl2pPr>
              <a:buClr>
                <a:schemeClr val="tx1"/>
              </a:buClr>
              <a:defRPr sz="2666">
                <a:solidFill>
                  <a:schemeClr val="tx1"/>
                </a:solidFill>
              </a:defRPr>
            </a:lvl2pPr>
            <a:lvl3pPr>
              <a:buClr>
                <a:schemeClr val="tx1"/>
              </a:buClr>
              <a:defRPr sz="2666">
                <a:solidFill>
                  <a:schemeClr val="tx1"/>
                </a:solidFill>
              </a:defRPr>
            </a:lvl3pPr>
            <a:lvl4pPr>
              <a:buClr>
                <a:schemeClr val="tx1"/>
              </a:buClr>
              <a:defRPr sz="2666">
                <a:solidFill>
                  <a:schemeClr val="tx1"/>
                </a:solidFill>
              </a:defRPr>
            </a:lvl4pPr>
            <a:lvl5pPr>
              <a:buClr>
                <a:schemeClr val="tx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2902264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000" cy="13728192"/>
          </a:xfrm>
          <a:solidFill>
            <a:schemeClr val="accent2"/>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000" y="0"/>
            <a:ext cx="6096000" cy="1372819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2000" y="0"/>
            <a:ext cx="6096000" cy="13728192"/>
          </a:xfrm>
          <a:solidFill>
            <a:srgbClr val="0530AD"/>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88000" y="0"/>
            <a:ext cx="6096000" cy="13728192"/>
          </a:xfrm>
          <a:solidFill>
            <a:srgbClr val="061F80"/>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2971306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5600" y="3316224"/>
            <a:ext cx="17068800"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950020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449786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1216" y="3359002"/>
            <a:ext cx="4901184" cy="8672576"/>
          </a:xfrm>
        </p:spPr>
        <p:txBody>
          <a:bodyPr/>
          <a:lstStyle>
            <a:lvl1pPr>
              <a:spcBef>
                <a:spcPts val="800"/>
              </a:spcBef>
              <a:defRPr sz="3734"/>
            </a:lvl1pPr>
            <a:lvl2pPr>
              <a:spcBef>
                <a:spcPts val="2934"/>
              </a:spcBef>
              <a:defRPr sz="3734"/>
            </a:lvl2pPr>
            <a:lvl3pPr>
              <a:spcBef>
                <a:spcPts val="2934"/>
              </a:spcBef>
              <a:defRPr sz="3734"/>
            </a:lvl3pPr>
            <a:lvl4pPr>
              <a:spcBef>
                <a:spcPts val="2934"/>
              </a:spcBef>
              <a:defRPr sz="3734"/>
            </a:lvl4pPr>
            <a:lvl5pPr>
              <a:spcBef>
                <a:spcPts val="2934"/>
              </a:spcBef>
              <a:defRPr sz="37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1211938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1216" y="3367024"/>
            <a:ext cx="4901184" cy="8672576"/>
          </a:xfrm>
        </p:spPr>
        <p:txBody>
          <a:bodyPr/>
          <a:lstStyle>
            <a:lvl1pPr>
              <a:spcBef>
                <a:spcPts val="800"/>
              </a:spcBef>
              <a:defRPr sz="2666"/>
            </a:lvl1pPr>
            <a:lvl2pPr>
              <a:spcBef>
                <a:spcPts val="800"/>
              </a:spcBef>
              <a:defRPr sz="2666"/>
            </a:lvl2pPr>
            <a:lvl3pPr>
              <a:spcBef>
                <a:spcPts val="800"/>
              </a:spcBef>
              <a:defRPr sz="2666"/>
            </a:lvl3pPr>
            <a:lvl4pPr>
              <a:spcBef>
                <a:spcPts val="800"/>
              </a:spcBef>
              <a:defRPr sz="2666"/>
            </a:lvl4pPr>
            <a:lvl5pPr>
              <a:spcBef>
                <a:spcPts val="800"/>
              </a:spcBef>
              <a:defRPr sz="26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28448" y="3243072"/>
            <a:ext cx="11045952" cy="8745728"/>
          </a:xfrm>
        </p:spPr>
        <p:txBody>
          <a:bodyPr/>
          <a:lstStyle>
            <a:lvl1pPr>
              <a:defRPr sz="6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0640760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8"/>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1219" y="536448"/>
            <a:ext cx="17093002" cy="11452352"/>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045387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3969282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320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4833424"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7984292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64992"/>
            <a:ext cx="10997184" cy="3493008"/>
          </a:xfrm>
        </p:spPr>
        <p:txBody>
          <a:bodyPr/>
          <a:lstStyle>
            <a:lvl1pPr>
              <a:spcBef>
                <a:spcPts val="0"/>
              </a:spcBef>
              <a:defRPr sz="2666"/>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16" y="8558784"/>
            <a:ext cx="17093184" cy="3486912"/>
          </a:xfrm>
        </p:spPr>
        <p:txBody>
          <a:bodyPr anchor="b"/>
          <a:lstStyle>
            <a:lvl1pPr>
              <a:spcBef>
                <a:spcPts val="800"/>
              </a:spcBef>
              <a:defRPr sz="1600"/>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5340427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5" name="Picture" descr="IBM 8-bar logo"/>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461856" y="6167695"/>
            <a:ext cx="3460288" cy="1380618"/>
          </a:xfrm>
          <a:prstGeom prst="rect">
            <a:avLst/>
          </a:prstGeom>
        </p:spPr>
      </p:pic>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0185931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grpSp>
        <p:nvGrpSpPr>
          <p:cNvPr id="50" name="Group 45"/>
          <p:cNvGrpSpPr/>
          <p:nvPr/>
        </p:nvGrpSpPr>
        <p:grpSpPr>
          <a:xfrm>
            <a:off x="-778940" y="686975"/>
            <a:ext cx="287880" cy="12370322"/>
            <a:chOff x="0" y="0"/>
            <a:chExt cx="287877" cy="12370320"/>
          </a:xfrm>
        </p:grpSpPr>
        <p:sp>
          <p:nvSpPr>
            <p:cNvPr id="41"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2"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3"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4"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5"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6"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7"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8"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9"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grpSp>
      <p:grpSp>
        <p:nvGrpSpPr>
          <p:cNvPr id="60" name="Group 58"/>
          <p:cNvGrpSpPr/>
          <p:nvPr/>
        </p:nvGrpSpPr>
        <p:grpSpPr>
          <a:xfrm>
            <a:off x="24718892" y="686975"/>
            <a:ext cx="287880" cy="12370322"/>
            <a:chOff x="0" y="0"/>
            <a:chExt cx="287877" cy="12370320"/>
          </a:xfrm>
        </p:grpSpPr>
        <p:sp>
          <p:nvSpPr>
            <p:cNvPr id="51"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2"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3"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4"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5"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6"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7"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8"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9"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grpSp>
      <p:sp>
        <p:nvSpPr>
          <p:cNvPr id="61" name="Title Text"/>
          <p:cNvSpPr txBox="1">
            <a:spLocks noGrp="1"/>
          </p:cNvSpPr>
          <p:nvPr>
            <p:ph type="title"/>
          </p:nvPr>
        </p:nvSpPr>
        <p:spPr>
          <a:xfrm>
            <a:off x="1191805" y="3403600"/>
            <a:ext cx="18260910" cy="3427004"/>
          </a:xfrm>
          <a:prstGeom prst="rect">
            <a:avLst/>
          </a:prstGeom>
        </p:spPr>
        <p:txBody>
          <a:bodyPr>
            <a:normAutofit/>
          </a:bodyPr>
          <a:lstStyle>
            <a:lvl1pPr>
              <a:defRPr>
                <a:solidFill>
                  <a:srgbClr val="FFFFFF"/>
                </a:solidFill>
              </a:defRPr>
            </a:lvl1pPr>
          </a:lstStyle>
          <a:p>
            <a:r>
              <a:t>Title Text</a:t>
            </a:r>
          </a:p>
        </p:txBody>
      </p:sp>
      <p:pic>
        <p:nvPicPr>
          <p:cNvPr id="64" name="Image" descr="Image"/>
          <p:cNvPicPr>
            <a:picLocks noChangeAspect="1"/>
          </p:cNvPicPr>
          <p:nvPr/>
        </p:nvPicPr>
        <p:blipFill>
          <a:blip r:embed="rId2"/>
          <a:stretch>
            <a:fillRect/>
          </a:stretch>
        </p:blipFill>
        <p:spPr>
          <a:xfrm>
            <a:off x="533814" y="13003353"/>
            <a:ext cx="716924" cy="549610"/>
          </a:xfrm>
          <a:prstGeom prst="rect">
            <a:avLst/>
          </a:prstGeom>
          <a:ln w="12700">
            <a:miter lim="400000"/>
          </a:ln>
        </p:spPr>
      </p:pic>
      <p:sp>
        <p:nvSpPr>
          <p:cNvPr id="65" name="IBM Customer Success / © 2021 IBM Corporation"/>
          <p:cNvSpPr txBox="1"/>
          <p:nvPr/>
        </p:nvSpPr>
        <p:spPr>
          <a:xfrm>
            <a:off x="1160781" y="13142383"/>
            <a:ext cx="5349285" cy="3795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sz="1800" dirty="0">
                <a:latin typeface="IBM Plex Sans Light"/>
                <a:ea typeface="IBM Plex Sans Light"/>
                <a:cs typeface="IBM Plex Sans Light"/>
                <a:sym typeface="IBM Plex Sans Light"/>
              </a:rPr>
              <a:t>IBM</a:t>
            </a:r>
            <a:r>
              <a:rPr sz="1800" dirty="0"/>
              <a:t> </a:t>
            </a:r>
            <a:r>
              <a:rPr sz="1800" spc="18" dirty="0">
                <a:latin typeface="IBM Plex Sans SemiBold"/>
                <a:ea typeface="IBM Plex Sans SemiBold"/>
                <a:cs typeface="IBM Plex Sans SemiBold"/>
                <a:sym typeface="IBM Plex Sans SemiBold"/>
              </a:rPr>
              <a:t>Customer Success</a:t>
            </a:r>
            <a:r>
              <a:rPr sz="1800" b="1" spc="18" dirty="0"/>
              <a:t> </a:t>
            </a:r>
            <a:r>
              <a:rPr sz="1800" spc="18" dirty="0">
                <a:latin typeface="IBM Plex Sans Light"/>
                <a:ea typeface="IBM Plex Sans Light"/>
                <a:cs typeface="IBM Plex Sans Light"/>
                <a:sym typeface="IBM Plex Sans Light"/>
              </a:rPr>
              <a:t>/ © </a:t>
            </a:r>
            <a:r>
              <a:rPr lang="en-AU" sz="1800" spc="18" dirty="0">
                <a:latin typeface="IBM Plex Sans Light"/>
                <a:ea typeface="IBM Plex Sans Light"/>
                <a:cs typeface="IBM Plex Sans Light"/>
                <a:sym typeface="IBM Plex Sans Light"/>
              </a:rPr>
              <a:t>2022</a:t>
            </a:r>
            <a:r>
              <a:rPr sz="1800" spc="18" dirty="0">
                <a:latin typeface="IBM Plex Sans Light"/>
                <a:ea typeface="IBM Plex Sans Light"/>
                <a:cs typeface="IBM Plex Sans Light"/>
                <a:sym typeface="IBM Plex Sans Light"/>
              </a:rPr>
              <a:t> IBM Corporation</a:t>
            </a:r>
          </a:p>
        </p:txBody>
      </p:sp>
      <p:sp>
        <p:nvSpPr>
          <p:cNvPr id="66"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3937672512"/>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758280" y="12463488"/>
            <a:ext cx="679675" cy="642912"/>
          </a:xfrm>
          <a:prstGeom prst="rect">
            <a:avLst/>
          </a:prstGeom>
        </p:spPr>
        <p:txBody>
          <a:bodyPr lIns="50800" tIns="50800" rIns="50800" bIns="50800" anchor="b"/>
          <a:lstStyle>
            <a:lvl1pPr algn="r" defTabSz="584207">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3" y="372533"/>
            <a:ext cx="11045952" cy="2145792"/>
          </a:xfrm>
          <a:prstGeom prst="rect">
            <a:avLst/>
          </a:prstGeom>
        </p:spPr>
        <p:txBody>
          <a:bodyPr/>
          <a:lstStyle>
            <a:lvl1pPr defTabSz="2438430">
              <a:lnSpc>
                <a:spcPct val="90000"/>
              </a:lnSpc>
              <a:spcBef>
                <a:spcPts val="0"/>
              </a:spcBef>
              <a:defRPr sz="6400"/>
            </a:lvl1pPr>
          </a:lstStyle>
          <a:p>
            <a:r>
              <a:t>Title Text</a:t>
            </a:r>
          </a:p>
        </p:txBody>
      </p:sp>
      <p:grpSp>
        <p:nvGrpSpPr>
          <p:cNvPr id="509" name="Group 59"/>
          <p:cNvGrpSpPr/>
          <p:nvPr/>
        </p:nvGrpSpPr>
        <p:grpSpPr>
          <a:xfrm>
            <a:off x="623994" y="-318347"/>
            <a:ext cx="23164621" cy="243840"/>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grpSp>
      <p:grpSp>
        <p:nvGrpSpPr>
          <p:cNvPr id="521" name="Group 60"/>
          <p:cNvGrpSpPr/>
          <p:nvPr/>
        </p:nvGrpSpPr>
        <p:grpSpPr>
          <a:xfrm>
            <a:off x="611292" y="13768496"/>
            <a:ext cx="23164621" cy="243840"/>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grpSp>
      <p:grpSp>
        <p:nvGrpSpPr>
          <p:cNvPr id="531" name="Group 61"/>
          <p:cNvGrpSpPr/>
          <p:nvPr/>
        </p:nvGrpSpPr>
        <p:grpSpPr>
          <a:xfrm>
            <a:off x="-419613" y="633985"/>
            <a:ext cx="243840" cy="12438552"/>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grpSp>
      <p:grpSp>
        <p:nvGrpSpPr>
          <p:cNvPr id="541" name="Group 62"/>
          <p:cNvGrpSpPr/>
          <p:nvPr/>
        </p:nvGrpSpPr>
        <p:grpSpPr>
          <a:xfrm>
            <a:off x="24434800" y="633985"/>
            <a:ext cx="243840" cy="12435843"/>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grpSp>
      <p:sp>
        <p:nvSpPr>
          <p:cNvPr id="542" name="Straight Connector 92"/>
          <p:cNvSpPr/>
          <p:nvPr/>
        </p:nvSpPr>
        <p:spPr>
          <a:xfrm flipV="1">
            <a:off x="611293"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3" name="Straight Connector 93"/>
          <p:cNvSpPr/>
          <p:nvPr/>
        </p:nvSpPr>
        <p:spPr>
          <a:xfrm flipV="1">
            <a:off x="5488093" y="-318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4" name="Straight Connector 94"/>
          <p:cNvSpPr/>
          <p:nvPr/>
        </p:nvSpPr>
        <p:spPr>
          <a:xfrm flipV="1">
            <a:off x="6110392" y="-318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5" name="Straight Connector 95"/>
          <p:cNvSpPr/>
          <p:nvPr/>
        </p:nvSpPr>
        <p:spPr>
          <a:xfrm flipV="1">
            <a:off x="6707293" y="-318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6" name="Straight Connector 96"/>
          <p:cNvSpPr/>
          <p:nvPr/>
        </p:nvSpPr>
        <p:spPr>
          <a:xfrm flipV="1">
            <a:off x="11584093"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7" name="Straight Connector 97"/>
          <p:cNvSpPr/>
          <p:nvPr/>
        </p:nvSpPr>
        <p:spPr>
          <a:xfrm flipV="1">
            <a:off x="12193693"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8" name="Straight Connector 98"/>
          <p:cNvSpPr/>
          <p:nvPr/>
        </p:nvSpPr>
        <p:spPr>
          <a:xfrm flipV="1">
            <a:off x="12803293"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9" name="Straight Connector 99"/>
          <p:cNvSpPr/>
          <p:nvPr/>
        </p:nvSpPr>
        <p:spPr>
          <a:xfrm flipV="1">
            <a:off x="17680093"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0" name="Straight Connector 100"/>
          <p:cNvSpPr/>
          <p:nvPr/>
        </p:nvSpPr>
        <p:spPr>
          <a:xfrm flipV="1">
            <a:off x="18289696"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1" name="Straight Connector 101"/>
          <p:cNvSpPr/>
          <p:nvPr/>
        </p:nvSpPr>
        <p:spPr>
          <a:xfrm flipV="1">
            <a:off x="18899296"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2" name="Straight Connector 102"/>
          <p:cNvSpPr/>
          <p:nvPr/>
        </p:nvSpPr>
        <p:spPr>
          <a:xfrm flipV="1">
            <a:off x="23775912"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3" name="Straight Connector 81"/>
          <p:cNvSpPr/>
          <p:nvPr/>
        </p:nvSpPr>
        <p:spPr>
          <a:xfrm flipV="1">
            <a:off x="6112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4" name="Straight Connector 82"/>
          <p:cNvSpPr/>
          <p:nvPr/>
        </p:nvSpPr>
        <p:spPr>
          <a:xfrm flipV="1">
            <a:off x="54880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5" name="Straight Connector 83"/>
          <p:cNvSpPr/>
          <p:nvPr/>
        </p:nvSpPr>
        <p:spPr>
          <a:xfrm flipV="1">
            <a:off x="60976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6" name="Straight Connector 84"/>
          <p:cNvSpPr/>
          <p:nvPr/>
        </p:nvSpPr>
        <p:spPr>
          <a:xfrm flipV="1">
            <a:off x="67072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7" name="Straight Connector 85"/>
          <p:cNvSpPr/>
          <p:nvPr/>
        </p:nvSpPr>
        <p:spPr>
          <a:xfrm flipV="1">
            <a:off x="115840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8" name="Straight Connector 86"/>
          <p:cNvSpPr/>
          <p:nvPr/>
        </p:nvSpPr>
        <p:spPr>
          <a:xfrm flipV="1">
            <a:off x="121936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9" name="Straight Connector 87"/>
          <p:cNvSpPr/>
          <p:nvPr/>
        </p:nvSpPr>
        <p:spPr>
          <a:xfrm flipV="1">
            <a:off x="128032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0" name="Straight Connector 88"/>
          <p:cNvSpPr/>
          <p:nvPr/>
        </p:nvSpPr>
        <p:spPr>
          <a:xfrm flipV="1">
            <a:off x="176800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1" name="Straight Connector 89"/>
          <p:cNvSpPr/>
          <p:nvPr/>
        </p:nvSpPr>
        <p:spPr>
          <a:xfrm flipV="1">
            <a:off x="18289696"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2" name="Straight Connector 90"/>
          <p:cNvSpPr/>
          <p:nvPr/>
        </p:nvSpPr>
        <p:spPr>
          <a:xfrm flipV="1">
            <a:off x="18899296"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3" name="Straight Connector 91"/>
          <p:cNvSpPr/>
          <p:nvPr/>
        </p:nvSpPr>
        <p:spPr>
          <a:xfrm flipV="1">
            <a:off x="23775912"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4" name="Straight Connector 72"/>
          <p:cNvSpPr/>
          <p:nvPr/>
        </p:nvSpPr>
        <p:spPr>
          <a:xfrm flipH="1">
            <a:off x="-419613" y="1743456"/>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5" name="Straight Connector 73"/>
          <p:cNvSpPr/>
          <p:nvPr/>
        </p:nvSpPr>
        <p:spPr>
          <a:xfrm flipH="1">
            <a:off x="-419613" y="3438144"/>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6" name="Straight Connector 74"/>
          <p:cNvSpPr/>
          <p:nvPr/>
        </p:nvSpPr>
        <p:spPr>
          <a:xfrm flipH="1">
            <a:off x="-419613" y="5145024"/>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7" name="Straight Connector 75"/>
          <p:cNvSpPr/>
          <p:nvPr/>
        </p:nvSpPr>
        <p:spPr>
          <a:xfrm flipH="1">
            <a:off x="-419613" y="6855973"/>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8" name="Straight Connector 76"/>
          <p:cNvSpPr/>
          <p:nvPr/>
        </p:nvSpPr>
        <p:spPr>
          <a:xfrm flipH="1">
            <a:off x="-419613" y="8558784"/>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9" name="Straight Connector 77"/>
          <p:cNvSpPr/>
          <p:nvPr/>
        </p:nvSpPr>
        <p:spPr>
          <a:xfrm flipH="1">
            <a:off x="-419613" y="10265664"/>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0" name="Straight Connector 78"/>
          <p:cNvSpPr/>
          <p:nvPr/>
        </p:nvSpPr>
        <p:spPr>
          <a:xfrm flipH="1">
            <a:off x="-419613" y="11984736"/>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1" name="Straight Connector 79"/>
          <p:cNvSpPr/>
          <p:nvPr/>
        </p:nvSpPr>
        <p:spPr>
          <a:xfrm flipH="1">
            <a:off x="-419613" y="633984"/>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2" name="Straight Connector 80"/>
          <p:cNvSpPr/>
          <p:nvPr/>
        </p:nvSpPr>
        <p:spPr>
          <a:xfrm flipH="1">
            <a:off x="-419613" y="13072533"/>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3" name="Straight Connector 63"/>
          <p:cNvSpPr/>
          <p:nvPr/>
        </p:nvSpPr>
        <p:spPr>
          <a:xfrm flipH="1">
            <a:off x="24434801" y="1743456"/>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4" name="Straight Connector 64"/>
          <p:cNvSpPr/>
          <p:nvPr/>
        </p:nvSpPr>
        <p:spPr>
          <a:xfrm flipH="1">
            <a:off x="24434801" y="343814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5" name="Straight Connector 65"/>
          <p:cNvSpPr/>
          <p:nvPr/>
        </p:nvSpPr>
        <p:spPr>
          <a:xfrm flipH="1">
            <a:off x="24434801" y="514502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6" name="Straight Connector 66"/>
          <p:cNvSpPr/>
          <p:nvPr/>
        </p:nvSpPr>
        <p:spPr>
          <a:xfrm flipH="1">
            <a:off x="24434801" y="685190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7" name="Straight Connector 67"/>
          <p:cNvSpPr/>
          <p:nvPr/>
        </p:nvSpPr>
        <p:spPr>
          <a:xfrm flipH="1">
            <a:off x="24434801" y="855878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8" name="Straight Connector 68"/>
          <p:cNvSpPr/>
          <p:nvPr/>
        </p:nvSpPr>
        <p:spPr>
          <a:xfrm flipH="1">
            <a:off x="24434801" y="1026566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9" name="Straight Connector 69"/>
          <p:cNvSpPr/>
          <p:nvPr/>
        </p:nvSpPr>
        <p:spPr>
          <a:xfrm flipH="1">
            <a:off x="24434801" y="11984736"/>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80" name="Straight Connector 70"/>
          <p:cNvSpPr/>
          <p:nvPr/>
        </p:nvSpPr>
        <p:spPr>
          <a:xfrm flipH="1">
            <a:off x="24434801" y="63398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81" name="Straight Connector 71"/>
          <p:cNvSpPr/>
          <p:nvPr/>
        </p:nvSpPr>
        <p:spPr>
          <a:xfrm flipH="1">
            <a:off x="24434801" y="1306982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pic>
        <p:nvPicPr>
          <p:cNvPr id="582" name="CSMLogo_Final-04.jpg" descr="CSMLogo_Final-04.jpg"/>
          <p:cNvPicPr>
            <a:picLocks noChangeAspect="1"/>
          </p:cNvPicPr>
          <p:nvPr/>
        </p:nvPicPr>
        <p:blipFill>
          <a:blip r:embed="rId2"/>
          <a:srcRect r="71135"/>
          <a:stretch>
            <a:fillRect/>
          </a:stretch>
        </p:blipFill>
        <p:spPr>
          <a:xfrm>
            <a:off x="532112" y="12986057"/>
            <a:ext cx="669349" cy="685939"/>
          </a:xfrm>
          <a:prstGeom prst="rect">
            <a:avLst/>
          </a:prstGeom>
          <a:ln w="12700">
            <a:miter lim="400000"/>
          </a:ln>
        </p:spPr>
      </p:pic>
      <p:sp>
        <p:nvSpPr>
          <p:cNvPr id="583" name="IBM Customer Success / © 2021 IBM Corporation"/>
          <p:cNvSpPr txBox="1"/>
          <p:nvPr/>
        </p:nvSpPr>
        <p:spPr>
          <a:xfrm>
            <a:off x="1161924" y="13132108"/>
            <a:ext cx="5354543" cy="3795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sz="1800" dirty="0">
                <a:latin typeface="IBM Plex Sans Light"/>
                <a:ea typeface="IBM Plex Sans Light"/>
                <a:cs typeface="IBM Plex Sans Light"/>
                <a:sym typeface="IBM Plex Sans Light"/>
              </a:rPr>
              <a:t>IBM</a:t>
            </a:r>
            <a:r>
              <a:rPr sz="1800" dirty="0"/>
              <a:t> </a:t>
            </a:r>
            <a:r>
              <a:rPr sz="1800" spc="19" dirty="0">
                <a:latin typeface="IBM Plex Sans SemiBold"/>
                <a:ea typeface="IBM Plex Sans SemiBold"/>
                <a:cs typeface="IBM Plex Sans SemiBold"/>
                <a:sym typeface="IBM Plex Sans SemiBold"/>
              </a:rPr>
              <a:t>Customer Success</a:t>
            </a:r>
            <a:r>
              <a:rPr sz="1800" b="1" spc="19" dirty="0"/>
              <a:t> </a:t>
            </a:r>
            <a:r>
              <a:rPr sz="1800" spc="19" dirty="0">
                <a:latin typeface="IBM Plex Sans Light"/>
                <a:ea typeface="IBM Plex Sans Light"/>
                <a:cs typeface="IBM Plex Sans Light"/>
                <a:sym typeface="IBM Plex Sans Light"/>
              </a:rPr>
              <a:t>/ © 202</a:t>
            </a:r>
            <a:r>
              <a:rPr lang="en-AU" sz="1800" spc="19">
                <a:latin typeface="IBM Plex Sans Light"/>
                <a:ea typeface="IBM Plex Sans Light"/>
                <a:cs typeface="IBM Plex Sans Light"/>
                <a:sym typeface="IBM Plex Sans Light"/>
              </a:rPr>
              <a:t>2</a:t>
            </a:r>
            <a:r>
              <a:rPr sz="1800" spc="19">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3672519100"/>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over on purple&gt;blue auror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4BDF8C-1817-8247-8AB1-2A718F6A5B52}"/>
              </a:ext>
            </a:extLst>
          </p:cNvPr>
          <p:cNvPicPr>
            <a:picLocks noChangeAspect="1"/>
          </p:cNvPicPr>
          <p:nvPr/>
        </p:nvPicPr>
        <p:blipFill>
          <a:blip r:embed="rId2"/>
          <a:stretch>
            <a:fillRect/>
          </a:stretch>
        </p:blipFill>
        <p:spPr>
          <a:xfrm>
            <a:off x="0" y="0"/>
            <a:ext cx="24384000" cy="13716000"/>
          </a:xfrm>
          <a:prstGeom prst="rect">
            <a:avLst/>
          </a:prstGeom>
        </p:spPr>
      </p:pic>
      <p:pic>
        <p:nvPicPr>
          <p:cNvPr id="7" name="Picture 6"/>
          <p:cNvPicPr>
            <a:picLocks noChangeAspect="1"/>
          </p:cNvPicPr>
          <p:nvPr/>
        </p:nvPicPr>
        <p:blipFill>
          <a:blip r:embed="rId3"/>
          <a:stretch>
            <a:fillRect/>
          </a:stretch>
        </p:blipFill>
        <p:spPr>
          <a:xfrm>
            <a:off x="22383500" y="12514876"/>
            <a:ext cx="1390904" cy="551443"/>
          </a:xfrm>
          <a:prstGeom prst="rect">
            <a:avLst/>
          </a:prstGeom>
        </p:spPr>
      </p:pic>
      <p:pic>
        <p:nvPicPr>
          <p:cNvPr id="5" name="Picture 4">
            <a:extLst>
              <a:ext uri="{FF2B5EF4-FFF2-40B4-BE49-F238E27FC236}">
                <a16:creationId xmlns:a16="http://schemas.microsoft.com/office/drawing/2014/main" id="{1B8E6449-75CD-2844-9D41-392A498B77C7}"/>
              </a:ext>
            </a:extLst>
          </p:cNvPr>
          <p:cNvPicPr>
            <a:picLocks noChangeAspect="1"/>
          </p:cNvPicPr>
          <p:nvPr/>
        </p:nvPicPr>
        <p:blipFill>
          <a:blip r:embed="rId4"/>
          <a:stretch>
            <a:fillRect/>
          </a:stretch>
        </p:blipFill>
        <p:spPr>
          <a:xfrm>
            <a:off x="620159" y="12610370"/>
            <a:ext cx="3633848" cy="579741"/>
          </a:xfrm>
          <a:prstGeom prst="rect">
            <a:avLst/>
          </a:prstGeom>
        </p:spPr>
      </p:pic>
      <p:sp>
        <p:nvSpPr>
          <p:cNvPr id="3" name="Title 2">
            <a:extLst>
              <a:ext uri="{FF2B5EF4-FFF2-40B4-BE49-F238E27FC236}">
                <a16:creationId xmlns:a16="http://schemas.microsoft.com/office/drawing/2014/main" id="{448401B5-D58E-5544-B2D2-E826194A605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1966625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able of Contents">
    <p:bg>
      <p:bgRef idx="1001">
        <a:schemeClr val="bg2"/>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585216" y="3316224"/>
            <a:ext cx="10997184" cy="8672576"/>
          </a:xfrm>
        </p:spPr>
        <p:txBody>
          <a:bodyPr/>
          <a:lstStyle>
            <a:lvl1pPr marL="0" indent="0">
              <a:spcBef>
                <a:spcPts val="2933"/>
              </a:spcBef>
              <a:tabLst>
                <a:tab pos="10816034" algn="r"/>
              </a:tabLst>
              <a:defRPr b="1">
                <a:solidFill>
                  <a:schemeClr val="tx1"/>
                </a:solidFill>
                <a:latin typeface="Arial" panose="020B0604020202020204" pitchFamily="34" charset="0"/>
                <a:cs typeface="Arial" panose="020B0604020202020204" pitchFamily="34" charset="0"/>
              </a:defRPr>
            </a:lvl1pPr>
            <a:lvl2pPr marL="0" indent="0">
              <a:spcBef>
                <a:spcPts val="0"/>
              </a:spcBef>
              <a:buNone/>
              <a:tabLst>
                <a:tab pos="10816034" algn="r"/>
              </a:tabLst>
              <a:defRPr>
                <a:solidFill>
                  <a:schemeClr val="tx1"/>
                </a:solidFill>
                <a:latin typeface="Arial" panose="020B0604020202020204" pitchFamily="34" charset="0"/>
                <a:cs typeface="Arial" panose="020B0604020202020204" pitchFamily="34" charset="0"/>
              </a:defRPr>
            </a:lvl2pPr>
            <a:lvl3pPr marL="537625" indent="0">
              <a:buNone/>
              <a:defRPr/>
            </a:lvl3pPr>
            <a:lvl4pPr marL="1159918" indent="0">
              <a:buNone/>
              <a:defRPr/>
            </a:lvl4pPr>
            <a:lvl5pPr marL="1684845" indent="0">
              <a:buNone/>
              <a:defRPr/>
            </a:lvl5pPr>
          </a:lstStyle>
          <a:p>
            <a:pPr lvl="0"/>
            <a:r>
              <a:rPr lang="en-US" dirty="0"/>
              <a:t>Click to edit Master text styles	</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9" name="Text Placeholder 8">
            <a:extLst>
              <a:ext uri="{FF2B5EF4-FFF2-40B4-BE49-F238E27FC236}">
                <a16:creationId xmlns:a16="http://schemas.microsoft.com/office/drawing/2014/main" id="{58D4BED3-BCA4-6C4D-8319-DB43E2795E49}"/>
              </a:ext>
            </a:extLst>
          </p:cNvPr>
          <p:cNvSpPr>
            <a:spLocks noGrp="1"/>
          </p:cNvSpPr>
          <p:nvPr>
            <p:ph type="body" sz="quarter" idx="14"/>
          </p:nvPr>
        </p:nvSpPr>
        <p:spPr>
          <a:xfrm>
            <a:off x="12801600" y="3302000"/>
            <a:ext cx="11023600" cy="8720667"/>
          </a:xfrm>
        </p:spPr>
        <p:txBody>
          <a:bodyPr/>
          <a:lstStyle>
            <a:lvl1pPr marL="0" indent="0">
              <a:spcBef>
                <a:spcPts val="2933"/>
              </a:spcBef>
              <a:tabLst>
                <a:tab pos="10816034" algn="r"/>
              </a:tabLst>
              <a:defRPr b="1">
                <a:solidFill>
                  <a:schemeClr val="tx1"/>
                </a:solidFill>
                <a:latin typeface="Arial" panose="020B0604020202020204" pitchFamily="34" charset="0"/>
                <a:cs typeface="Arial" panose="020B0604020202020204" pitchFamily="34" charset="0"/>
              </a:defRPr>
            </a:lvl1pPr>
            <a:lvl2pPr marL="0" indent="0">
              <a:spcBef>
                <a:spcPts val="0"/>
              </a:spcBef>
              <a:buFontTx/>
              <a:buNone/>
              <a:tabLst>
                <a:tab pos="10816034" algn="r"/>
              </a:tabLst>
              <a:defRPr>
                <a:solidFill>
                  <a:schemeClr val="tx1"/>
                </a:solidFill>
                <a:latin typeface="Arial" panose="020B0604020202020204" pitchFamily="34" charset="0"/>
                <a:cs typeface="Arial" panose="020B0604020202020204" pitchFamily="34" charset="0"/>
              </a:defRPr>
            </a:lvl2pPr>
            <a:lvl3pPr marL="0" indent="0">
              <a:spcBef>
                <a:spcPts val="0"/>
              </a:spcBef>
              <a:buFontTx/>
              <a:buNone/>
              <a:tabLst>
                <a:tab pos="10816034" algn="r"/>
              </a:tabLst>
              <a:defRPr>
                <a:solidFill>
                  <a:schemeClr val="tx1"/>
                </a:solidFill>
              </a:defRPr>
            </a:lvl3pPr>
            <a:lvl4pPr marL="0" indent="0">
              <a:spcBef>
                <a:spcPts val="0"/>
              </a:spcBef>
              <a:buFontTx/>
              <a:buNone/>
              <a:tabLst>
                <a:tab pos="10816034" algn="r"/>
              </a:tabLst>
              <a:defRPr>
                <a:solidFill>
                  <a:schemeClr val="tx1"/>
                </a:solidFill>
                <a:latin typeface="Arial" panose="020B0604020202020204" pitchFamily="34" charset="0"/>
                <a:cs typeface="Arial" panose="020B0604020202020204" pitchFamily="34" charset="0"/>
              </a:defRPr>
            </a:lvl4pPr>
            <a:lvl5pPr marL="0" indent="0">
              <a:spcBef>
                <a:spcPts val="0"/>
              </a:spcBef>
              <a:buFontTx/>
              <a:buNone/>
              <a:tabLst>
                <a:tab pos="10816034" algn="r"/>
              </a:tabLst>
              <a:defRPr>
                <a:solidFill>
                  <a:schemeClr val="tx1"/>
                </a:solidFill>
                <a:latin typeface="Arial" panose="020B0604020202020204" pitchFamily="34" charset="0"/>
                <a:cs typeface="Arial" panose="020B0604020202020204" pitchFamily="34" charset="0"/>
              </a:defRPr>
            </a:lvl5pPr>
            <a:lvl6pPr marL="0" indent="0">
              <a:buFontTx/>
              <a:buNone/>
              <a:tabLst>
                <a:tab pos="10816034" algn="r"/>
              </a:tabLst>
              <a:defRPr>
                <a:solidFill>
                  <a:schemeClr val="tx1"/>
                </a:solidFill>
                <a:latin typeface="Arial" panose="020B0604020202020204" pitchFamily="34" charset="0"/>
                <a:cs typeface="Arial" panose="020B0604020202020204" pitchFamily="34" charset="0"/>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a:extLst>
              <a:ext uri="{FF2B5EF4-FFF2-40B4-BE49-F238E27FC236}">
                <a16:creationId xmlns:a16="http://schemas.microsoft.com/office/drawing/2014/main" id="{74BF99C6-8C1D-5F4B-8B6B-2A7E1846189E}"/>
              </a:ext>
            </a:extLst>
          </p:cNvPr>
          <p:cNvSpPr>
            <a:spLocks noGrp="1"/>
          </p:cNvSpPr>
          <p:nvPr>
            <p:ph type="title"/>
          </p:nvPr>
        </p:nvSpPr>
        <p:spPr>
          <a:xfrm>
            <a:off x="560832" y="536451"/>
            <a:ext cx="17117568" cy="1194821"/>
          </a:xfrm>
        </p:spPr>
        <p:txBody>
          <a:bodyPr/>
          <a:lstStyle>
            <a:lvl1pPr>
              <a:defRPr>
                <a:solidFill>
                  <a:schemeClr val="tx1"/>
                </a:solidFill>
              </a:defRPr>
            </a:lvl1pPr>
          </a:lstStyle>
          <a:p>
            <a:r>
              <a:rPr lang="en-US"/>
              <a:t>Click to edit Master title style</a:t>
            </a:r>
            <a:endParaRPr lang="en-US" dirty="0"/>
          </a:p>
        </p:txBody>
      </p:sp>
      <p:sp>
        <p:nvSpPr>
          <p:cNvPr id="10" name="Footer Placeholder 9">
            <a:extLst>
              <a:ext uri="{FF2B5EF4-FFF2-40B4-BE49-F238E27FC236}">
                <a16:creationId xmlns:a16="http://schemas.microsoft.com/office/drawing/2014/main" id="{CCA8DA44-5F78-144B-B268-E90E769A9193}"/>
              </a:ext>
            </a:extLst>
          </p:cNvPr>
          <p:cNvSpPr>
            <a:spLocks noGrp="1"/>
          </p:cNvSpPr>
          <p:nvPr>
            <p:ph type="ftr" sz="quarter" idx="15"/>
          </p:nvPr>
        </p:nvSpPr>
        <p:spPr/>
        <p:txBody>
          <a:bodyPr/>
          <a:lstStyle>
            <a:lvl1pPr>
              <a:defRPr>
                <a:solidFill>
                  <a:srgbClr val="6F6F6F"/>
                </a:solidFill>
              </a:defRPr>
            </a:lvl1pPr>
          </a:lstStyle>
          <a:p>
            <a:endParaRPr lang="en-IL"/>
          </a:p>
        </p:txBody>
      </p:sp>
      <p:sp>
        <p:nvSpPr>
          <p:cNvPr id="11" name="Slide Number Placeholder 10">
            <a:extLst>
              <a:ext uri="{FF2B5EF4-FFF2-40B4-BE49-F238E27FC236}">
                <a16:creationId xmlns:a16="http://schemas.microsoft.com/office/drawing/2014/main" id="{AF66FA99-115E-6040-9E38-61B3F9B16438}"/>
              </a:ext>
            </a:extLst>
          </p:cNvPr>
          <p:cNvSpPr>
            <a:spLocks noGrp="1"/>
          </p:cNvSpPr>
          <p:nvPr>
            <p:ph type="sldNum" sz="quarter" idx="16"/>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248258093"/>
      </p:ext>
    </p:extLst>
  </p:cSld>
  <p:clrMapOvr>
    <a:overrideClrMapping bg1="dk1" tx1="lt1" bg2="dk2" tx2="lt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divider (with page contents)">
    <p:spTree>
      <p:nvGrpSpPr>
        <p:cNvPr id="1" name=""/>
        <p:cNvGrpSpPr/>
        <p:nvPr/>
      </p:nvGrpSpPr>
      <p:grpSpPr>
        <a:xfrm>
          <a:off x="0" y="0"/>
          <a:ext cx="0" cy="0"/>
          <a:chOff x="0" y="0"/>
          <a:chExt cx="0" cy="0"/>
        </a:xfrm>
      </p:grpSpPr>
      <p:pic>
        <p:nvPicPr>
          <p:cNvPr id="7" name="Picture 6" descr="Cropped_Aurora_Primary- Top.png">
            <a:extLst>
              <a:ext uri="{FF2B5EF4-FFF2-40B4-BE49-F238E27FC236}">
                <a16:creationId xmlns:a16="http://schemas.microsoft.com/office/drawing/2014/main" id="{55B05552-8F89-9345-BDFC-7987B5C89E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7"/>
            <a:ext cx="24384000" cy="13749867"/>
          </a:xfrm>
          <a:prstGeom prst="rect">
            <a:avLst/>
          </a:prstGeom>
        </p:spPr>
      </p:pic>
      <p:sp>
        <p:nvSpPr>
          <p:cNvPr id="8" name="Text Placeholder 7"/>
          <p:cNvSpPr>
            <a:spLocks noGrp="1"/>
          </p:cNvSpPr>
          <p:nvPr>
            <p:ph type="body" sz="quarter" idx="13"/>
          </p:nvPr>
        </p:nvSpPr>
        <p:spPr>
          <a:xfrm>
            <a:off x="585216" y="3316224"/>
            <a:ext cx="10997184" cy="8672576"/>
          </a:xfrm>
        </p:spPr>
        <p:txBody>
          <a:bodyPr/>
          <a:lstStyle>
            <a:lvl1pPr marL="0" indent="0">
              <a:spcBef>
                <a:spcPts val="0"/>
              </a:spcBef>
              <a:tabLst>
                <a:tab pos="10811799" algn="r"/>
              </a:tabLst>
              <a:defRPr>
                <a:latin typeface="Arial" panose="020B0604020202020204" pitchFamily="34" charset="0"/>
                <a:cs typeface="Arial" panose="020B0604020202020204" pitchFamily="34" charset="0"/>
              </a:defRPr>
            </a:lvl1pPr>
            <a:lvl2pPr marL="0" indent="0">
              <a:spcBef>
                <a:spcPts val="0"/>
              </a:spcBef>
              <a:buNone/>
              <a:tabLst>
                <a:tab pos="10811799" algn="r"/>
              </a:tabLst>
              <a:defRPr>
                <a:latin typeface="Arial" panose="020B0604020202020204" pitchFamily="34" charset="0"/>
                <a:cs typeface="Arial" panose="020B0604020202020204" pitchFamily="34" charset="0"/>
              </a:defRPr>
            </a:lvl2pPr>
            <a:lvl3pPr marL="0" indent="0">
              <a:spcBef>
                <a:spcPts val="0"/>
              </a:spcBef>
              <a:buNone/>
              <a:tabLst>
                <a:tab pos="10811799" algn="r"/>
              </a:tabLst>
              <a:defRPr>
                <a:latin typeface="Arial" panose="020B0604020202020204" pitchFamily="34" charset="0"/>
                <a:cs typeface="Arial" panose="020B0604020202020204" pitchFamily="34" charset="0"/>
              </a:defRPr>
            </a:lvl3pPr>
            <a:lvl4pPr marL="0" indent="0">
              <a:spcBef>
                <a:spcPts val="0"/>
              </a:spcBef>
              <a:buNone/>
              <a:tabLst>
                <a:tab pos="10811799" algn="r"/>
              </a:tabLst>
              <a:defRPr>
                <a:latin typeface="Arial" panose="020B0604020202020204" pitchFamily="34" charset="0"/>
                <a:cs typeface="Arial" panose="020B0604020202020204" pitchFamily="34" charset="0"/>
              </a:defRPr>
            </a:lvl4pPr>
            <a:lvl5pPr marL="0" indent="0">
              <a:spcBef>
                <a:spcPts val="0"/>
              </a:spcBef>
              <a:buNone/>
              <a:tabLst>
                <a:tab pos="10811799" algn="r"/>
              </a:tabLst>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a:extLst>
              <a:ext uri="{FF2B5EF4-FFF2-40B4-BE49-F238E27FC236}">
                <a16:creationId xmlns:a16="http://schemas.microsoft.com/office/drawing/2014/main" id="{537DDF09-0740-BA44-9BCB-0E06468AC7BA}"/>
              </a:ext>
            </a:extLst>
          </p:cNvPr>
          <p:cNvSpPr>
            <a:spLocks noGrp="1"/>
          </p:cNvSpPr>
          <p:nvPr>
            <p:ph type="title"/>
          </p:nvPr>
        </p:nvSpPr>
        <p:spPr>
          <a:xfrm>
            <a:off x="560832" y="536451"/>
            <a:ext cx="17117568" cy="1194821"/>
          </a:xfrm>
        </p:spPr>
        <p:txBody>
          <a:bodyPr/>
          <a:lstStyle/>
          <a:p>
            <a:r>
              <a:rPr lang="en-US"/>
              <a:t>Click to edit Master title style</a:t>
            </a:r>
            <a:endParaRPr lang="en-US" dirty="0"/>
          </a:p>
        </p:txBody>
      </p:sp>
      <p:sp>
        <p:nvSpPr>
          <p:cNvPr id="9" name="Footer Placeholder 8">
            <a:extLst>
              <a:ext uri="{FF2B5EF4-FFF2-40B4-BE49-F238E27FC236}">
                <a16:creationId xmlns:a16="http://schemas.microsoft.com/office/drawing/2014/main" id="{7EAC2A73-9DA5-6145-B819-ACDBC748837E}"/>
              </a:ext>
            </a:extLst>
          </p:cNvPr>
          <p:cNvSpPr>
            <a:spLocks noGrp="1"/>
          </p:cNvSpPr>
          <p:nvPr>
            <p:ph type="ftr" sz="quarter" idx="14"/>
          </p:nvPr>
        </p:nvSpPr>
        <p:spPr/>
        <p:txBody>
          <a:bodyPr/>
          <a:lstStyle>
            <a:lvl1pPr>
              <a:defRPr>
                <a:solidFill>
                  <a:srgbClr val="868D95"/>
                </a:solidFill>
              </a:defRPr>
            </a:lvl1pPr>
          </a:lstStyle>
          <a:p>
            <a:endParaRPr lang="en-IL"/>
          </a:p>
        </p:txBody>
      </p:sp>
      <p:sp>
        <p:nvSpPr>
          <p:cNvPr id="10" name="Slide Number Placeholder 9">
            <a:extLst>
              <a:ext uri="{FF2B5EF4-FFF2-40B4-BE49-F238E27FC236}">
                <a16:creationId xmlns:a16="http://schemas.microsoft.com/office/drawing/2014/main" id="{B9392B4B-8C09-F64F-8504-DF209984EF6F}"/>
              </a:ext>
            </a:extLst>
          </p:cNvPr>
          <p:cNvSpPr>
            <a:spLocks noGrp="1"/>
          </p:cNvSpPr>
          <p:nvPr>
            <p:ph type="sldNum" sz="quarter" idx="15"/>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4575207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 Light Backgroun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1DD603-AE8F-7947-92D2-ADC8CBA399FC}"/>
              </a:ext>
            </a:extLst>
          </p:cNvPr>
          <p:cNvSpPr>
            <a:spLocks noGrp="1"/>
          </p:cNvSpPr>
          <p:nvPr>
            <p:ph type="title"/>
          </p:nvPr>
        </p:nvSpPr>
        <p:spPr>
          <a:xfrm>
            <a:off x="560832" y="536451"/>
            <a:ext cx="17117568" cy="1194821"/>
          </a:xfrm>
        </p:spPr>
        <p:txBody>
          <a:bodyPr/>
          <a:lstStyle>
            <a:lvl1pPr>
              <a:defRPr>
                <a:solidFill>
                  <a:schemeClr val="tx1"/>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8BC8FD81-C7ED-7C48-8129-B7632EE8D7E5}"/>
              </a:ext>
            </a:extLst>
          </p:cNvPr>
          <p:cNvSpPr>
            <a:spLocks noGrp="1"/>
          </p:cNvSpPr>
          <p:nvPr>
            <p:ph type="ftr" sz="quarter" idx="10"/>
          </p:nvPr>
        </p:nvSpPr>
        <p:spPr/>
        <p:txBody>
          <a:bodyPr/>
          <a:lstStyle>
            <a:lvl1pPr>
              <a:defRPr>
                <a:solidFill>
                  <a:srgbClr val="6F6F6F"/>
                </a:solidFill>
              </a:defRPr>
            </a:lvl1pPr>
          </a:lstStyle>
          <a:p>
            <a:endParaRPr lang="en-IL"/>
          </a:p>
        </p:txBody>
      </p:sp>
      <p:sp>
        <p:nvSpPr>
          <p:cNvPr id="5" name="Slide Number Placeholder 4">
            <a:extLst>
              <a:ext uri="{FF2B5EF4-FFF2-40B4-BE49-F238E27FC236}">
                <a16:creationId xmlns:a16="http://schemas.microsoft.com/office/drawing/2014/main" id="{5D729875-D419-7944-B7E3-F7A4880705D2}"/>
              </a:ext>
            </a:extLst>
          </p:cNvPr>
          <p:cNvSpPr>
            <a:spLocks noGrp="1"/>
          </p:cNvSpPr>
          <p:nvPr>
            <p:ph type="sldNum" sz="quarter" idx="11"/>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16920668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 Dark Backgroun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lvl1pPr>
              <a:defRPr>
                <a:solidFill>
                  <a:schemeClr val="bg1"/>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431C8448-DBE8-F141-A6F0-ED3BC5B7A105}"/>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3" name="Slide Number Placeholder 2">
            <a:extLst>
              <a:ext uri="{FF2B5EF4-FFF2-40B4-BE49-F238E27FC236}">
                <a16:creationId xmlns:a16="http://schemas.microsoft.com/office/drawing/2014/main" id="{BFE5D3C6-24EB-4243-9469-A8224172C08A}"/>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7355807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31BF2151-11EA-2947-9E9F-88907F3B487F}"/>
              </a:ext>
            </a:extLst>
          </p:cNvPr>
          <p:cNvSpPr>
            <a:spLocks noGrp="1"/>
          </p:cNvSpPr>
          <p:nvPr>
            <p:ph type="body" sz="quarter" idx="12" hasCustomPrompt="1"/>
          </p:nvPr>
        </p:nvSpPr>
        <p:spPr>
          <a:xfrm>
            <a:off x="558800" y="1452711"/>
            <a:ext cx="17119600" cy="738664"/>
          </a:xfrm>
        </p:spPr>
        <p:txBody>
          <a:bodyPr/>
          <a:lstStyle>
            <a:lvl1pPr>
              <a:defRPr sz="4267">
                <a:solidFill>
                  <a:srgbClr val="868D95"/>
                </a:solidFill>
              </a:defRPr>
            </a:lvl1pPr>
          </a:lstStyle>
          <a:p>
            <a:pPr lvl="0"/>
            <a:r>
              <a:rPr lang="en-US" dirty="0"/>
              <a:t>Click to edit Master subtitle styles</a:t>
            </a:r>
          </a:p>
        </p:txBody>
      </p:sp>
      <p:sp>
        <p:nvSpPr>
          <p:cNvPr id="2" name="Footer Placeholder 1">
            <a:extLst>
              <a:ext uri="{FF2B5EF4-FFF2-40B4-BE49-F238E27FC236}">
                <a16:creationId xmlns:a16="http://schemas.microsoft.com/office/drawing/2014/main" id="{EC74C8AD-1BC5-DB40-99C3-D820564FF180}"/>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1D40A22C-84D8-0E47-A459-24F4F6BFE457}"/>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847866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9"/>
            <a:ext cx="10997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83247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and intro with tex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p>
            <a:r>
              <a:rPr lang="en-US"/>
              <a:t>Click to edit Master title style</a:t>
            </a:r>
            <a:endParaRPr lang="en-US" dirty="0"/>
          </a:p>
        </p:txBody>
      </p:sp>
      <p:sp>
        <p:nvSpPr>
          <p:cNvPr id="8" name="Text Placeholder 8">
            <a:extLst>
              <a:ext uri="{FF2B5EF4-FFF2-40B4-BE49-F238E27FC236}">
                <a16:creationId xmlns:a16="http://schemas.microsoft.com/office/drawing/2014/main" id="{41F9A113-D7BE-9142-A928-2480E1DAE449}"/>
              </a:ext>
            </a:extLst>
          </p:cNvPr>
          <p:cNvSpPr>
            <a:spLocks noGrp="1"/>
          </p:cNvSpPr>
          <p:nvPr>
            <p:ph type="body" sz="quarter" idx="13"/>
          </p:nvPr>
        </p:nvSpPr>
        <p:spPr>
          <a:xfrm>
            <a:off x="579861" y="3437471"/>
            <a:ext cx="10972800" cy="738664"/>
          </a:xfrm>
        </p:spPr>
        <p:txBody>
          <a:bodyPr/>
          <a:lstStyle>
            <a:lvl1pPr>
              <a:defRPr sz="4267">
                <a:solidFill>
                  <a:srgbClr val="868D95"/>
                </a:solidFill>
              </a:defRPr>
            </a:lvl1pPr>
          </a:lstStyle>
          <a:p>
            <a:pPr lvl="0"/>
            <a:r>
              <a:rPr lang="en-US"/>
              <a:t>Edit Master text styles</a:t>
            </a:r>
          </a:p>
        </p:txBody>
      </p:sp>
      <p:sp>
        <p:nvSpPr>
          <p:cNvPr id="10" name="Text Placeholder 8">
            <a:extLst>
              <a:ext uri="{FF2B5EF4-FFF2-40B4-BE49-F238E27FC236}">
                <a16:creationId xmlns:a16="http://schemas.microsoft.com/office/drawing/2014/main" id="{F7D16651-3012-494B-85F7-446431F11E0E}"/>
              </a:ext>
            </a:extLst>
          </p:cNvPr>
          <p:cNvSpPr>
            <a:spLocks noGrp="1"/>
          </p:cNvSpPr>
          <p:nvPr>
            <p:ph type="body" sz="quarter" idx="14"/>
          </p:nvPr>
        </p:nvSpPr>
        <p:spPr>
          <a:xfrm>
            <a:off x="12801604" y="3467024"/>
            <a:ext cx="10972616" cy="8521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2F3687B9-6CA7-CD43-9FE7-B790C8DCE583}"/>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572F1CD2-17FD-F743-A0DB-1863710A3011}"/>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67323715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nd 2-Column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E171548-9505-824E-BDB9-79305FA3AD54}"/>
              </a:ext>
            </a:extLst>
          </p:cNvPr>
          <p:cNvSpPr>
            <a:spLocks noGrp="1"/>
          </p:cNvSpPr>
          <p:nvPr>
            <p:ph type="body" sz="quarter" idx="12"/>
          </p:nvPr>
        </p:nvSpPr>
        <p:spPr>
          <a:xfrm>
            <a:off x="609600" y="3437467"/>
            <a:ext cx="10972800"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a:extLst>
              <a:ext uri="{FF2B5EF4-FFF2-40B4-BE49-F238E27FC236}">
                <a16:creationId xmlns:a16="http://schemas.microsoft.com/office/drawing/2014/main" id="{EF9F6E35-71E2-FD44-86CC-050DA933B102}"/>
              </a:ext>
            </a:extLst>
          </p:cNvPr>
          <p:cNvSpPr>
            <a:spLocks noGrp="1"/>
          </p:cNvSpPr>
          <p:nvPr>
            <p:ph type="body" sz="quarter" idx="13"/>
          </p:nvPr>
        </p:nvSpPr>
        <p:spPr>
          <a:xfrm>
            <a:off x="12801604" y="3437467"/>
            <a:ext cx="10972616"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B5A5AB81-CA56-6641-83F1-C347017E0E6B}"/>
              </a:ext>
            </a:extLst>
          </p:cNvPr>
          <p:cNvSpPr>
            <a:spLocks noGrp="1"/>
          </p:cNvSpPr>
          <p:nvPr>
            <p:ph type="ftr" sz="quarter" idx="14"/>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AE2D2EA9-7CAF-834F-8BE8-8BD428803CD8}"/>
              </a:ext>
            </a:extLst>
          </p:cNvPr>
          <p:cNvSpPr>
            <a:spLocks noGrp="1"/>
          </p:cNvSpPr>
          <p:nvPr>
            <p:ph type="sldNum" sz="quarter" idx="15"/>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340559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8" name="Text Placeholder 7"/>
          <p:cNvSpPr>
            <a:spLocks noGrp="1"/>
          </p:cNvSpPr>
          <p:nvPr>
            <p:ph type="body" sz="quarter" idx="13"/>
          </p:nvPr>
        </p:nvSpPr>
        <p:spPr>
          <a:xfrm>
            <a:off x="585216" y="3437467"/>
            <a:ext cx="10997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008B8EF0-8F64-844F-A096-3A04D7A21C03}"/>
              </a:ext>
            </a:extLst>
          </p:cNvPr>
          <p:cNvSpPr>
            <a:spLocks noGrp="1"/>
          </p:cNvSpPr>
          <p:nvPr>
            <p:ph type="title"/>
          </p:nvPr>
        </p:nvSpPr>
        <p:spPr>
          <a:xfrm>
            <a:off x="560832" y="536452"/>
            <a:ext cx="11045952" cy="886397"/>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83ED6A26-E94E-1046-B6E9-FFA7B1E22FF5}"/>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CD34A710-EDD8-1644-AE88-B13A009B2162}"/>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87039660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560832" y="536452"/>
            <a:ext cx="11045952" cy="886397"/>
          </a:xfrm>
        </p:spPr>
        <p:txBody>
          <a:bodyPr>
            <a:sp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302C4FC6-DC18-BD49-A80C-71545520A609}"/>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ED94BA4B-A62A-E943-AA87-663DB3E7B438}"/>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92598944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text (four columns) on gradient">
    <p:spTree>
      <p:nvGrpSpPr>
        <p:cNvPr id="1" name=""/>
        <p:cNvGrpSpPr/>
        <p:nvPr/>
      </p:nvGrpSpPr>
      <p:grpSpPr>
        <a:xfrm>
          <a:off x="0" y="0"/>
          <a:ext cx="0" cy="0"/>
          <a:chOff x="0" y="0"/>
          <a:chExt cx="0" cy="0"/>
        </a:xfrm>
      </p:grpSpPr>
      <p:pic>
        <p:nvPicPr>
          <p:cNvPr id="9" name="Picture 8" descr="Cropped_Aurora_Primary- Top.png">
            <a:extLst>
              <a:ext uri="{FF2B5EF4-FFF2-40B4-BE49-F238E27FC236}">
                <a16:creationId xmlns:a16="http://schemas.microsoft.com/office/drawing/2014/main" id="{71D027F9-176A-0A43-988A-7816BB28E9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7"/>
            <a:ext cx="24384000" cy="13749867"/>
          </a:xfrm>
          <a:prstGeom prst="rect">
            <a:avLst/>
          </a:prstGeom>
        </p:spPr>
      </p:pic>
      <p:sp>
        <p:nvSpPr>
          <p:cNvPr id="2" name="Title 1"/>
          <p:cNvSpPr>
            <a:spLocks noGrp="1"/>
          </p:cNvSpPr>
          <p:nvPr>
            <p:ph type="title"/>
          </p:nvPr>
        </p:nvSpPr>
        <p:spPr>
          <a:xfrm>
            <a:off x="560832" y="536452"/>
            <a:ext cx="17117568" cy="886397"/>
          </a:xfrm>
        </p:spPr>
        <p:txBody>
          <a:bodyPr>
            <a:spAutoFit/>
          </a:bodyPr>
          <a:lstStyle/>
          <a:p>
            <a:r>
              <a:rPr lang="en-US"/>
              <a:t>Click to edit Master title style</a:t>
            </a:r>
            <a:endParaRPr lang="en-US" dirty="0"/>
          </a:p>
        </p:txBody>
      </p:sp>
      <p:sp>
        <p:nvSpPr>
          <p:cNvPr id="6" name="Text Placeholder 5"/>
          <p:cNvSpPr>
            <a:spLocks noGrp="1"/>
          </p:cNvSpPr>
          <p:nvPr>
            <p:ph type="body" sz="quarter" idx="12"/>
          </p:nvPr>
        </p:nvSpPr>
        <p:spPr>
          <a:xfrm>
            <a:off x="585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18873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221099F-82F0-AA43-A13B-96BAA228732D}"/>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AEB7D673-7877-044D-8F46-10D7947B3A70}"/>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37560762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text (four columns)">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52"/>
            <a:ext cx="17117568" cy="886397"/>
          </a:xfrm>
        </p:spPr>
        <p:txBody>
          <a:bodyPr>
            <a:spAutoFit/>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437467"/>
            <a:ext cx="4901184" cy="8551333"/>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18873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60F93096-B0F0-3344-9F25-809D1B53BC89}"/>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B2D5D27C-B2B7-7B41-B53D-33C7F0372F97}"/>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746298112"/>
      </p:ext>
    </p:extLst>
  </p:cSld>
  <p:clrMapOvr>
    <a:overrideClrMapping bg1="dk1" tx1="lt1" bg2="dk2" tx2="lt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Title and 3-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10" name="Text Placeholder 9"/>
          <p:cNvSpPr>
            <a:spLocks noGrp="1"/>
          </p:cNvSpPr>
          <p:nvPr>
            <p:ph type="body" sz="quarter" idx="14"/>
          </p:nvPr>
        </p:nvSpPr>
        <p:spPr>
          <a:xfrm>
            <a:off x="12777216" y="5147736"/>
            <a:ext cx="4901184" cy="6841067"/>
          </a:xfrm>
        </p:spPr>
        <p:txBody>
          <a:bodyPr/>
          <a:lstStyle/>
          <a:p>
            <a:pPr lvl="0"/>
            <a:r>
              <a:rPr lang="en-US"/>
              <a:t>Edit Master text styles</a:t>
            </a:r>
          </a:p>
        </p:txBody>
      </p:sp>
      <p:sp>
        <p:nvSpPr>
          <p:cNvPr id="12" name="Text Placeholder 11"/>
          <p:cNvSpPr>
            <a:spLocks noGrp="1"/>
          </p:cNvSpPr>
          <p:nvPr>
            <p:ph type="body" sz="quarter" idx="15"/>
          </p:nvPr>
        </p:nvSpPr>
        <p:spPr>
          <a:xfrm>
            <a:off x="18873216" y="5147736"/>
            <a:ext cx="4901184" cy="6841067"/>
          </a:xfrm>
        </p:spPr>
        <p:txBody>
          <a:bodyPr/>
          <a:lstStyle/>
          <a:p>
            <a:pPr lvl="0"/>
            <a:r>
              <a:rPr lang="en-US"/>
              <a:t>Edit Master text styles</a:t>
            </a:r>
          </a:p>
        </p:txBody>
      </p:sp>
      <p:sp>
        <p:nvSpPr>
          <p:cNvPr id="8" name="Text Placeholder 9">
            <a:extLst>
              <a:ext uri="{FF2B5EF4-FFF2-40B4-BE49-F238E27FC236}">
                <a16:creationId xmlns:a16="http://schemas.microsoft.com/office/drawing/2014/main" id="{806ADC61-6409-F24F-9107-98133FF36EB6}"/>
              </a:ext>
            </a:extLst>
          </p:cNvPr>
          <p:cNvSpPr>
            <a:spLocks noGrp="1"/>
          </p:cNvSpPr>
          <p:nvPr>
            <p:ph type="body" sz="quarter" idx="16" hasCustomPrompt="1"/>
          </p:nvPr>
        </p:nvSpPr>
        <p:spPr>
          <a:xfrm>
            <a:off x="609603" y="3437467"/>
            <a:ext cx="10968901" cy="8551333"/>
          </a:xfrm>
        </p:spPr>
        <p:txBody>
          <a:bodyPr rIns="2286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a:extLst>
              <a:ext uri="{FF2B5EF4-FFF2-40B4-BE49-F238E27FC236}">
                <a16:creationId xmlns:a16="http://schemas.microsoft.com/office/drawing/2014/main" id="{9BEAFA93-4E89-1A42-9D96-68AA480D7FDF}"/>
              </a:ext>
            </a:extLst>
          </p:cNvPr>
          <p:cNvSpPr>
            <a:spLocks noGrp="1"/>
          </p:cNvSpPr>
          <p:nvPr>
            <p:ph type="body" sz="quarter" idx="19" hasCustomPrompt="1"/>
          </p:nvPr>
        </p:nvSpPr>
        <p:spPr>
          <a:xfrm>
            <a:off x="12777216" y="3079207"/>
            <a:ext cx="4901184" cy="2068531"/>
          </a:xfrm>
        </p:spPr>
        <p:txBody>
          <a:bodyPr vert="horz" lIns="0" tIns="0" rIns="0" bIns="0" rtlCol="0">
            <a:noAutofit/>
          </a:bodyPr>
          <a:lstStyle>
            <a:lvl1pPr>
              <a:defRPr lang="en-US" sz="14400" dirty="0">
                <a:solidFill>
                  <a:schemeClr val="bg1"/>
                </a:solidFill>
                <a:latin typeface="Arial" panose="020B0604020202020204" pitchFamily="34" charset="0"/>
                <a:ea typeface="+mn-ea"/>
                <a:cs typeface="Arial" panose="020B0604020202020204" pitchFamily="34" charset="0"/>
              </a:defRPr>
            </a:lvl1pPr>
          </a:lstStyle>
          <a:p>
            <a:pPr lvl="0"/>
            <a:r>
              <a:rPr lang="en-US" dirty="0"/>
              <a:t>Data</a:t>
            </a:r>
          </a:p>
        </p:txBody>
      </p:sp>
      <p:sp>
        <p:nvSpPr>
          <p:cNvPr id="13" name="Text Placeholder 11">
            <a:extLst>
              <a:ext uri="{FF2B5EF4-FFF2-40B4-BE49-F238E27FC236}">
                <a16:creationId xmlns:a16="http://schemas.microsoft.com/office/drawing/2014/main" id="{0B766136-CE4E-3643-B7CE-4E818F3D0833}"/>
              </a:ext>
            </a:extLst>
          </p:cNvPr>
          <p:cNvSpPr>
            <a:spLocks noGrp="1"/>
          </p:cNvSpPr>
          <p:nvPr>
            <p:ph type="body" sz="quarter" idx="20" hasCustomPrompt="1"/>
          </p:nvPr>
        </p:nvSpPr>
        <p:spPr>
          <a:xfrm>
            <a:off x="18873216" y="3079207"/>
            <a:ext cx="4901184" cy="2068531"/>
          </a:xfrm>
        </p:spPr>
        <p:txBody>
          <a:bodyPr vert="horz" lIns="0" tIns="0" rIns="0" bIns="0" rtlCol="0">
            <a:noAutofit/>
          </a:bodyPr>
          <a:lstStyle>
            <a:lvl1pPr>
              <a:defRPr lang="en-US" sz="14400" dirty="0">
                <a:solidFill>
                  <a:schemeClr val="bg1"/>
                </a:solidFill>
                <a:latin typeface="Arial" panose="020B0604020202020204" pitchFamily="34" charset="0"/>
                <a:ea typeface="+mn-ea"/>
                <a:cs typeface="Arial" panose="020B0604020202020204" pitchFamily="34" charset="0"/>
              </a:defRPr>
            </a:lvl1pPr>
          </a:lstStyle>
          <a:p>
            <a:pPr lvl="0"/>
            <a:r>
              <a:rPr lang="en-US" dirty="0"/>
              <a:t>Data</a:t>
            </a:r>
          </a:p>
        </p:txBody>
      </p:sp>
      <p:sp>
        <p:nvSpPr>
          <p:cNvPr id="4" name="Footer Placeholder 3">
            <a:extLst>
              <a:ext uri="{FF2B5EF4-FFF2-40B4-BE49-F238E27FC236}">
                <a16:creationId xmlns:a16="http://schemas.microsoft.com/office/drawing/2014/main" id="{180F7C89-6EC5-E747-88D0-FAF854602E28}"/>
              </a:ext>
            </a:extLst>
          </p:cNvPr>
          <p:cNvSpPr>
            <a:spLocks noGrp="1"/>
          </p:cNvSpPr>
          <p:nvPr>
            <p:ph type="ftr" sz="quarter" idx="21"/>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BB7DC75D-474C-E44A-883A-266BD0B13034}"/>
              </a:ext>
            </a:extLst>
          </p:cNvPr>
          <p:cNvSpPr>
            <a:spLocks noGrp="1"/>
          </p:cNvSpPr>
          <p:nvPr>
            <p:ph type="sldNum" sz="quarter" idx="22"/>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72688135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atagram with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2EBF690-0BE8-BB42-8602-CD8CBAD7193E}"/>
              </a:ext>
            </a:extLst>
          </p:cNvPr>
          <p:cNvPicPr>
            <a:picLocks noChangeAspect="1"/>
          </p:cNvPicPr>
          <p:nvPr/>
        </p:nvPicPr>
        <p:blipFill>
          <a:blip r:embed="rId2"/>
          <a:stretch>
            <a:fillRect/>
          </a:stretch>
        </p:blipFill>
        <p:spPr>
          <a:xfrm>
            <a:off x="-51101" y="287869"/>
            <a:ext cx="3318933" cy="13140267"/>
          </a:xfrm>
          <a:prstGeom prst="rect">
            <a:avLst/>
          </a:prstGeom>
        </p:spPr>
      </p:pic>
      <p:sp>
        <p:nvSpPr>
          <p:cNvPr id="2" name="Title 1"/>
          <p:cNvSpPr>
            <a:spLocks noGrp="1"/>
          </p:cNvSpPr>
          <p:nvPr>
            <p:ph type="title"/>
          </p:nvPr>
        </p:nvSpPr>
        <p:spPr>
          <a:xfrm>
            <a:off x="609600" y="3833453"/>
            <a:ext cx="10972800" cy="2145792"/>
          </a:xfrm>
        </p:spPr>
        <p:txBody>
          <a:bodyPr/>
          <a:lstStyle>
            <a:lvl1pPr>
              <a:defRPr sz="4267"/>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276544" y="287871"/>
            <a:ext cx="11305856" cy="3545587"/>
          </a:xfrm>
        </p:spPr>
        <p:txBody>
          <a:bodyPr wrap="square" anchor="b" anchorCtr="0">
            <a:spAutoFit/>
          </a:bodyPr>
          <a:lstStyle>
            <a:lvl1pPr>
              <a:lnSpc>
                <a:spcPct val="90000"/>
              </a:lnSpc>
              <a:defRPr sz="25600" b="0" i="0">
                <a:latin typeface="Arial" panose="020B0604020202020204" pitchFamily="34" charset="0"/>
                <a:cs typeface="Arial" panose="020B0604020202020204" pitchFamily="34" charset="0"/>
              </a:defRPr>
            </a:lvl1pPr>
          </a:lstStyle>
          <a:p>
            <a:pPr lvl="0"/>
            <a:r>
              <a:rPr lang="en-US" dirty="0"/>
              <a:t>Data</a:t>
            </a:r>
          </a:p>
        </p:txBody>
      </p:sp>
      <p:sp>
        <p:nvSpPr>
          <p:cNvPr id="8" name="Text Placeholder 10">
            <a:extLst>
              <a:ext uri="{FF2B5EF4-FFF2-40B4-BE49-F238E27FC236}">
                <a16:creationId xmlns:a16="http://schemas.microsoft.com/office/drawing/2014/main" id="{D8541C52-586A-3740-9F9D-CD95C7AF372D}"/>
              </a:ext>
            </a:extLst>
          </p:cNvPr>
          <p:cNvSpPr>
            <a:spLocks noGrp="1"/>
          </p:cNvSpPr>
          <p:nvPr>
            <p:ph type="body" sz="quarter" idx="14" hasCustomPrompt="1"/>
          </p:nvPr>
        </p:nvSpPr>
        <p:spPr>
          <a:xfrm>
            <a:off x="12010968" y="12866874"/>
            <a:ext cx="10972800" cy="246221"/>
          </a:xfrm>
        </p:spPr>
        <p:txBody>
          <a:bodyPr/>
          <a:lstStyle>
            <a:lvl1pPr algn="r">
              <a:defRPr sz="16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EA78CE90-A68E-8645-8D73-CF637ECDF933}"/>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9" name="Slide Number Placeholder 8">
            <a:extLst>
              <a:ext uri="{FF2B5EF4-FFF2-40B4-BE49-F238E27FC236}">
                <a16:creationId xmlns:a16="http://schemas.microsoft.com/office/drawing/2014/main" id="{301CB90A-A032-9148-9993-0DE78DFC3179}"/>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44000278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Datagram with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EE02E63-7BF5-7D46-85B0-ECC8971069CF}"/>
              </a:ext>
            </a:extLst>
          </p:cNvPr>
          <p:cNvSpPr>
            <a:spLocks noGrp="1"/>
          </p:cNvSpPr>
          <p:nvPr>
            <p:ph type="pic" sz="quarter" idx="13" hasCustomPrompt="1"/>
          </p:nvPr>
        </p:nvSpPr>
        <p:spPr>
          <a:xfrm>
            <a:off x="12192000" y="0"/>
            <a:ext cx="12192000" cy="13716000"/>
          </a:xfrm>
          <a:ln>
            <a:noFill/>
          </a:ln>
        </p:spPr>
        <p:txBody>
          <a:bodyPr>
            <a:noAutofit/>
          </a:bodyPr>
          <a:lstStyle/>
          <a:p>
            <a:r>
              <a:rPr lang="en-US" dirty="0"/>
              <a:t>Click to insert picture</a:t>
            </a:r>
          </a:p>
        </p:txBody>
      </p:sp>
      <p:sp>
        <p:nvSpPr>
          <p:cNvPr id="2" name="Title 1"/>
          <p:cNvSpPr>
            <a:spLocks noGrp="1"/>
          </p:cNvSpPr>
          <p:nvPr>
            <p:ph type="title" hasCustomPrompt="1"/>
          </p:nvPr>
        </p:nvSpPr>
        <p:spPr>
          <a:xfrm>
            <a:off x="609600" y="3833457"/>
            <a:ext cx="10972800" cy="590931"/>
          </a:xfrm>
        </p:spPr>
        <p:txBody>
          <a:bodyPr/>
          <a:lstStyle>
            <a:lvl1pPr>
              <a:defRPr lang="en-US" sz="4267" b="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data fact</a:t>
            </a:r>
          </a:p>
        </p:txBody>
      </p:sp>
      <p:sp>
        <p:nvSpPr>
          <p:cNvPr id="6" name="Text Placeholder 5"/>
          <p:cNvSpPr>
            <a:spLocks noGrp="1"/>
          </p:cNvSpPr>
          <p:nvPr>
            <p:ph type="body" sz="quarter" idx="12" hasCustomPrompt="1"/>
          </p:nvPr>
        </p:nvSpPr>
        <p:spPr>
          <a:xfrm>
            <a:off x="276544" y="287867"/>
            <a:ext cx="11305856" cy="3545586"/>
          </a:xfrm>
        </p:spPr>
        <p:txBody>
          <a:bodyPr vert="horz" wrap="square" lIns="0" tIns="0" rIns="0" bIns="0" rtlCol="0" anchor="b" anchorCtr="0">
            <a:spAutoFit/>
          </a:bodyPr>
          <a:lstStyle>
            <a:lvl1pPr>
              <a:defRPr kumimoji="0" lang="en-US" sz="25600" b="0" i="0" u="none" strike="noStrike" kern="0" cap="none" spc="0" normalizeH="0" baseline="0" dirty="0">
                <a:ln>
                  <a:noFill/>
                </a:ln>
                <a:gradFill>
                  <a:gsLst>
                    <a:gs pos="70000">
                      <a:srgbClr val="8A3FFC"/>
                    </a:gs>
                    <a:gs pos="0">
                      <a:srgbClr val="0061FF"/>
                    </a:gs>
                  </a:gsLst>
                  <a:lin ang="18000000" scaled="0"/>
                </a:gradFill>
                <a:effectLst/>
                <a:uLnTx/>
                <a:uFillTx/>
                <a:latin typeface="Arial" panose="020B0604020202020204" pitchFamily="34" charset="0"/>
                <a:ea typeface="Arial" panose="020B0604020202020204" pitchFamily="34" charset="0"/>
                <a:cs typeface="Arial" panose="020B0604020202020204" pitchFamily="34" charset="0"/>
              </a:defRPr>
            </a:lvl1pPr>
          </a:lstStyle>
          <a:p>
            <a:pPr marR="0" lvl="0" defTabSz="2438372" latinLnBrk="0">
              <a:lnSpc>
                <a:spcPct val="90000"/>
              </a:lnSpc>
              <a:tabLst/>
            </a:pPr>
            <a:r>
              <a:rPr lang="en-US" dirty="0"/>
              <a:t>Data</a:t>
            </a:r>
          </a:p>
        </p:txBody>
      </p:sp>
      <p:sp>
        <p:nvSpPr>
          <p:cNvPr id="11" name="Text Placeholder 10">
            <a:extLst>
              <a:ext uri="{FF2B5EF4-FFF2-40B4-BE49-F238E27FC236}">
                <a16:creationId xmlns:a16="http://schemas.microsoft.com/office/drawing/2014/main" id="{3EE8FBB6-E0F4-5C42-BD21-16C428234A3B}"/>
              </a:ext>
            </a:extLst>
          </p:cNvPr>
          <p:cNvSpPr>
            <a:spLocks noGrp="1"/>
          </p:cNvSpPr>
          <p:nvPr>
            <p:ph type="body" sz="quarter" idx="14" hasCustomPrompt="1"/>
          </p:nvPr>
        </p:nvSpPr>
        <p:spPr>
          <a:xfrm>
            <a:off x="609600" y="12023498"/>
            <a:ext cx="10972800" cy="246221"/>
          </a:xfrm>
        </p:spPr>
        <p:txBody>
          <a:bodyPr/>
          <a:lstStyle>
            <a:lvl1pPr algn="l">
              <a:defRPr sz="16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B0CD161B-688B-2E4A-A88B-A7EF077C579F}"/>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E9710A9A-3069-9C42-8B17-9C3E68BEC073}"/>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74180525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18238A-55FD-D74C-A428-9B8F4BEED52D}"/>
              </a:ext>
            </a:extLst>
          </p:cNvPr>
          <p:cNvPicPr>
            <a:picLocks noChangeAspect="1"/>
          </p:cNvPicPr>
          <p:nvPr/>
        </p:nvPicPr>
        <p:blipFill rotWithShape="1">
          <a:blip r:embed="rId2">
            <a:alphaModFix amt="50000"/>
            <a:extLst>
              <a:ext uri="{28A0092B-C50C-407E-A947-70E740481C1C}">
                <a14:useLocalDpi xmlns:a14="http://schemas.microsoft.com/office/drawing/2010/main"/>
              </a:ext>
            </a:extLst>
          </a:blip>
          <a:srcRect r="-39"/>
          <a:stretch/>
        </p:blipFill>
        <p:spPr>
          <a:xfrm flipH="1">
            <a:off x="3070576" y="1727200"/>
            <a:ext cx="21313419" cy="11988800"/>
          </a:xfrm>
          <a:prstGeom prst="rect">
            <a:avLst/>
          </a:prstGeom>
        </p:spPr>
      </p:pic>
      <p:sp>
        <p:nvSpPr>
          <p:cNvPr id="2" name="Title 1"/>
          <p:cNvSpPr>
            <a:spLocks noGrp="1"/>
          </p:cNvSpPr>
          <p:nvPr>
            <p:ph type="title"/>
          </p:nvPr>
        </p:nvSpPr>
        <p:spPr>
          <a:xfrm>
            <a:off x="560832" y="536448"/>
            <a:ext cx="14833424" cy="11452352"/>
          </a:xfrm>
        </p:spPr>
        <p:txBody>
          <a:bodyPr/>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D2E65539-B4B9-3940-A630-85F3566B7D5D}"/>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5DDDA564-215D-9847-98C0-4256760C94B6}"/>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687355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3316225"/>
            <a:ext cx="10997003"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585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536057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2_title, text (four columns)">
    <p:bg>
      <p:bgPr>
        <a:solidFill>
          <a:schemeClr val="bg2"/>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hasCustomPrompt="1"/>
          </p:nvPr>
        </p:nvSpPr>
        <p:spPr>
          <a:xfrm>
            <a:off x="18288000" y="0"/>
            <a:ext cx="6096000" cy="13716000"/>
          </a:xfrm>
        </p:spPr>
        <p:txBody>
          <a:bodyPr/>
          <a:lstStyle>
            <a:lvl1pPr>
              <a:defRPr>
                <a:solidFill>
                  <a:schemeClr val="tx1"/>
                </a:solidFill>
              </a:defRPr>
            </a:lvl1pPr>
          </a:lstStyle>
          <a:p>
            <a:r>
              <a:rPr lang="en-US" dirty="0"/>
              <a:t>Insert pic here</a:t>
            </a:r>
          </a:p>
        </p:txBody>
      </p:sp>
      <p:sp>
        <p:nvSpPr>
          <p:cNvPr id="2" name="Title 1"/>
          <p:cNvSpPr>
            <a:spLocks noGrp="1"/>
          </p:cNvSpPr>
          <p:nvPr>
            <p:ph type="title"/>
          </p:nvPr>
        </p:nvSpPr>
        <p:spPr>
          <a:xfrm>
            <a:off x="560832" y="536448"/>
            <a:ext cx="17117568"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316224"/>
            <a:ext cx="4901184" cy="8672576"/>
          </a:xfrm>
        </p:spPr>
        <p:txBody>
          <a:bodyPr/>
          <a:lstStyle>
            <a:lvl1pPr>
              <a:spcBef>
                <a:spcPts val="2933"/>
              </a:spcBef>
              <a:buClrTx/>
              <a:defRPr sz="2667" b="0">
                <a:solidFill>
                  <a:schemeClr val="tx1"/>
                </a:solidFill>
              </a:defRPr>
            </a:lvl1pPr>
            <a:lvl2pPr>
              <a:spcBef>
                <a:spcPts val="2933"/>
              </a:spcBef>
              <a:buClrTx/>
              <a:defRPr sz="2667" b="0">
                <a:solidFill>
                  <a:schemeClr val="tx1"/>
                </a:solidFill>
              </a:defRPr>
            </a:lvl2pPr>
            <a:lvl3pPr>
              <a:spcBef>
                <a:spcPts val="2933"/>
              </a:spcBef>
              <a:buClrTx/>
              <a:defRPr sz="2667" b="0">
                <a:solidFill>
                  <a:schemeClr val="tx1"/>
                </a:solidFill>
              </a:defRPr>
            </a:lvl3pPr>
            <a:lvl4pPr>
              <a:spcBef>
                <a:spcPts val="2933"/>
              </a:spcBef>
              <a:buClrTx/>
              <a:defRPr sz="2667" b="0">
                <a:solidFill>
                  <a:schemeClr val="tx1"/>
                </a:solidFill>
              </a:defRPr>
            </a:lvl4pPr>
            <a:lvl5pPr>
              <a:spcBef>
                <a:spcPts val="2933"/>
              </a:spcBef>
              <a:buClrTx/>
              <a:defRPr sz="266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4"/>
            <a:ext cx="4901184" cy="8672576"/>
          </a:xfrm>
        </p:spPr>
        <p:txBody>
          <a:bodyPr/>
          <a:lstStyle>
            <a:lvl1pPr>
              <a:spcBef>
                <a:spcPts val="2933"/>
              </a:spcBef>
              <a:buClrTx/>
              <a:defRPr sz="2667" b="0">
                <a:solidFill>
                  <a:schemeClr val="tx1"/>
                </a:solidFill>
              </a:defRPr>
            </a:lvl1pPr>
            <a:lvl2pPr>
              <a:spcBef>
                <a:spcPts val="2933"/>
              </a:spcBef>
              <a:buClrTx/>
              <a:defRPr sz="2667" b="0">
                <a:solidFill>
                  <a:schemeClr val="tx1"/>
                </a:solidFill>
              </a:defRPr>
            </a:lvl2pPr>
            <a:lvl3pPr>
              <a:spcBef>
                <a:spcPts val="2933"/>
              </a:spcBef>
              <a:buClrTx/>
              <a:defRPr sz="2667" b="0">
                <a:solidFill>
                  <a:schemeClr val="tx1"/>
                </a:solidFill>
              </a:defRPr>
            </a:lvl3pPr>
            <a:lvl4pPr>
              <a:spcBef>
                <a:spcPts val="2933"/>
              </a:spcBef>
              <a:buClrTx/>
              <a:defRPr sz="2667" b="0">
                <a:solidFill>
                  <a:schemeClr val="tx1"/>
                </a:solidFill>
              </a:defRPr>
            </a:lvl4pPr>
            <a:lvl5pPr>
              <a:spcBef>
                <a:spcPts val="2933"/>
              </a:spcBef>
              <a:buClrTx/>
              <a:defRPr sz="266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316224"/>
            <a:ext cx="4901184" cy="8672576"/>
          </a:xfrm>
        </p:spPr>
        <p:txBody>
          <a:bodyPr/>
          <a:lstStyle>
            <a:lvl1pPr>
              <a:spcBef>
                <a:spcPts val="2933"/>
              </a:spcBef>
              <a:buClrTx/>
              <a:defRPr sz="2667" b="0">
                <a:solidFill>
                  <a:schemeClr val="tx1"/>
                </a:solidFill>
              </a:defRPr>
            </a:lvl1pPr>
            <a:lvl2pPr>
              <a:spcBef>
                <a:spcPts val="2933"/>
              </a:spcBef>
              <a:buClrTx/>
              <a:defRPr sz="2667" b="0">
                <a:solidFill>
                  <a:schemeClr val="tx1"/>
                </a:solidFill>
              </a:defRPr>
            </a:lvl2pPr>
            <a:lvl3pPr>
              <a:spcBef>
                <a:spcPts val="2933"/>
              </a:spcBef>
              <a:buClrTx/>
              <a:defRPr sz="2667" b="0">
                <a:solidFill>
                  <a:schemeClr val="tx1"/>
                </a:solidFill>
              </a:defRPr>
            </a:lvl3pPr>
            <a:lvl4pPr>
              <a:spcBef>
                <a:spcPts val="2933"/>
              </a:spcBef>
              <a:buClrTx/>
              <a:defRPr sz="2667" b="0">
                <a:solidFill>
                  <a:schemeClr val="tx1"/>
                </a:solidFill>
              </a:defRPr>
            </a:lvl4pPr>
            <a:lvl5pPr>
              <a:spcBef>
                <a:spcPts val="2933"/>
              </a:spcBef>
              <a:buClrTx/>
              <a:defRPr sz="266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a:extLst>
              <a:ext uri="{FF2B5EF4-FFF2-40B4-BE49-F238E27FC236}">
                <a16:creationId xmlns:a16="http://schemas.microsoft.com/office/drawing/2014/main" id="{AF82078C-FDD3-FC4C-B30C-494660539C7D}"/>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9" name="Slide Number Placeholder 8">
            <a:extLst>
              <a:ext uri="{FF2B5EF4-FFF2-40B4-BE49-F238E27FC236}">
                <a16:creationId xmlns:a16="http://schemas.microsoft.com/office/drawing/2014/main" id="{F673B17B-26FA-3A40-ABB3-80E9096FE52C}"/>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79215085"/>
      </p:ext>
    </p:extLst>
  </p:cSld>
  <p:clrMapOvr>
    <a:overrideClrMapping bg1="dk1" tx1="lt1" bg2="dk2" tx2="lt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and text with Vertical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DD32AE-2C3A-4E4F-AC0C-87E3C2EEAF3C}"/>
              </a:ext>
            </a:extLst>
          </p:cNvPr>
          <p:cNvPicPr>
            <a:picLocks noChangeAspect="1"/>
          </p:cNvPicPr>
          <p:nvPr/>
        </p:nvPicPr>
        <p:blipFill>
          <a:blip r:embed="rId2"/>
          <a:stretch>
            <a:fillRect/>
          </a:stretch>
        </p:blipFill>
        <p:spPr>
          <a:xfrm rot="5400000" flipV="1">
            <a:off x="2785480" y="4286256"/>
            <a:ext cx="13715995" cy="5143499"/>
          </a:xfrm>
          <a:prstGeom prst="rect">
            <a:avLst/>
          </a:prstGeom>
        </p:spPr>
      </p:pic>
      <p:sp>
        <p:nvSpPr>
          <p:cNvPr id="6" name="Text Placeholder 5"/>
          <p:cNvSpPr>
            <a:spLocks noGrp="1"/>
          </p:cNvSpPr>
          <p:nvPr>
            <p:ph type="body" sz="quarter" idx="12"/>
          </p:nvPr>
        </p:nvSpPr>
        <p:spPr>
          <a:xfrm>
            <a:off x="12777216" y="536448"/>
            <a:ext cx="10997184" cy="1145235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a:extLst>
              <a:ext uri="{FF2B5EF4-FFF2-40B4-BE49-F238E27FC236}">
                <a16:creationId xmlns:a16="http://schemas.microsoft.com/office/drawing/2014/main" id="{51B125B8-7C02-FD42-A218-16C9FACD799D}"/>
              </a:ext>
            </a:extLst>
          </p:cNvPr>
          <p:cNvSpPr>
            <a:spLocks noGrp="1"/>
          </p:cNvSpPr>
          <p:nvPr>
            <p:ph type="title"/>
          </p:nvPr>
        </p:nvSpPr>
        <p:spPr>
          <a:xfrm>
            <a:off x="560832" y="536452"/>
            <a:ext cx="11045952" cy="886397"/>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98B3DD9F-D37B-D042-B186-45F09F1225DC}"/>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99F0E606-D339-4C44-9986-613D39FB6CEB}"/>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57641141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only - ligh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52"/>
            <a:ext cx="17117568" cy="886397"/>
          </a:xfrm>
        </p:spPr>
        <p:txBody>
          <a:bodyPr/>
          <a:lstStyle>
            <a:lvl1pPr>
              <a:defRPr>
                <a:solidFill>
                  <a:schemeClr val="tx1"/>
                </a:solidFill>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E0BCCFE9-C1B9-4041-95D5-0AC60CA2FB9C}"/>
              </a:ext>
            </a:extLst>
          </p:cNvPr>
          <p:cNvSpPr>
            <a:spLocks noGrp="1"/>
          </p:cNvSpPr>
          <p:nvPr>
            <p:ph type="ftr" sz="quarter" idx="10"/>
          </p:nvPr>
        </p:nvSpPr>
        <p:spPr/>
        <p:txBody>
          <a:bodyPr/>
          <a:lstStyle>
            <a:lvl1pPr>
              <a:defRPr>
                <a:solidFill>
                  <a:srgbClr val="6F6F6F"/>
                </a:solidFill>
              </a:defRPr>
            </a:lvl1pPr>
          </a:lstStyle>
          <a:p>
            <a:endParaRPr lang="en-IL"/>
          </a:p>
        </p:txBody>
      </p:sp>
      <p:sp>
        <p:nvSpPr>
          <p:cNvPr id="6" name="Slide Number Placeholder 5">
            <a:extLst>
              <a:ext uri="{FF2B5EF4-FFF2-40B4-BE49-F238E27FC236}">
                <a16:creationId xmlns:a16="http://schemas.microsoft.com/office/drawing/2014/main" id="{C98AF545-4393-7849-B35A-FA3387696620}"/>
              </a:ext>
            </a:extLst>
          </p:cNvPr>
          <p:cNvSpPr>
            <a:spLocks noGrp="1"/>
          </p:cNvSpPr>
          <p:nvPr>
            <p:ph type="sldNum" sz="quarter" idx="11"/>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639304383"/>
      </p:ext>
    </p:extLst>
  </p:cSld>
  <p:clrMapOvr>
    <a:overrideClrMapping bg1="dk1" tx1="lt1" bg2="dk2" tx2="lt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text (1/4), blank (3/4)">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7117568" cy="1207685"/>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437467"/>
            <a:ext cx="4901184" cy="8551333"/>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3048BFFD-EA09-D74F-9801-60A1288FD87E}"/>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B28F6A59-3C39-0848-852B-B52EB71848E9}"/>
              </a:ext>
            </a:extLst>
          </p:cNvPr>
          <p:cNvSpPr>
            <a:spLocks noGrp="1"/>
          </p:cNvSpPr>
          <p:nvPr>
            <p:ph type="sldNum" sz="quarter" idx="14"/>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855516078"/>
      </p:ext>
    </p:extLst>
  </p:cSld>
  <p:clrMapOvr>
    <a:overrideClrMapping bg1="dk1" tx1="lt1" bg2="dk2" tx2="lt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Tab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52"/>
            <a:ext cx="5535168" cy="886397"/>
          </a:xfrm>
        </p:spPr>
        <p:txBody>
          <a:bodyPr/>
          <a:lstStyle>
            <a:lvl1pPr>
              <a:defRPr>
                <a:solidFill>
                  <a:schemeClr val="tx1"/>
                </a:solidFill>
              </a:defRPr>
            </a:lvl1pPr>
          </a:lstStyle>
          <a:p>
            <a:r>
              <a:rPr lang="en-US" dirty="0"/>
              <a:t>Click to edit Master title style</a:t>
            </a:r>
          </a:p>
        </p:txBody>
      </p:sp>
      <p:sp>
        <p:nvSpPr>
          <p:cNvPr id="6" name="Table Placeholder 5">
            <a:extLst>
              <a:ext uri="{FF2B5EF4-FFF2-40B4-BE49-F238E27FC236}">
                <a16:creationId xmlns:a16="http://schemas.microsoft.com/office/drawing/2014/main" id="{8D979E40-0450-344E-A8D6-38445E8367C2}"/>
              </a:ext>
            </a:extLst>
          </p:cNvPr>
          <p:cNvSpPr>
            <a:spLocks noGrp="1"/>
          </p:cNvSpPr>
          <p:nvPr>
            <p:ph type="tbl" sz="quarter" idx="12"/>
          </p:nvPr>
        </p:nvSpPr>
        <p:spPr>
          <a:xfrm>
            <a:off x="6705600" y="635003"/>
            <a:ext cx="17068800" cy="11366501"/>
          </a:xfrm>
        </p:spPr>
        <p:txBody>
          <a:bodyPr/>
          <a:lstStyle>
            <a:lvl1pPr>
              <a:defRPr>
                <a:solidFill>
                  <a:schemeClr val="tx1"/>
                </a:solidFill>
              </a:defRPr>
            </a:lvl1pPr>
          </a:lstStyle>
          <a:p>
            <a:r>
              <a:rPr lang="en-US" dirty="0"/>
              <a:t>Click icon to add table</a:t>
            </a:r>
          </a:p>
        </p:txBody>
      </p:sp>
      <p:sp>
        <p:nvSpPr>
          <p:cNvPr id="5" name="Footer Placeholder 4">
            <a:extLst>
              <a:ext uri="{FF2B5EF4-FFF2-40B4-BE49-F238E27FC236}">
                <a16:creationId xmlns:a16="http://schemas.microsoft.com/office/drawing/2014/main" id="{3E3E129A-5C7E-CC49-AFF6-B0B8BA8EE672}"/>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DD0C0C68-42B9-704D-B2C5-4BAF1B55F6C9}"/>
              </a:ext>
            </a:extLst>
          </p:cNvPr>
          <p:cNvSpPr>
            <a:spLocks noGrp="1"/>
          </p:cNvSpPr>
          <p:nvPr>
            <p:ph type="sldNum" sz="quarter" idx="14"/>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69802919"/>
      </p:ext>
    </p:extLst>
  </p:cSld>
  <p:clrMapOvr>
    <a:overrideClrMapping bg1="dk1" tx1="lt1" bg2="dk2" tx2="lt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pic>
        <p:nvPicPr>
          <p:cNvPr id="8" name="Picture 7" descr="Cropped_Aurora_Primary- Top.png">
            <a:extLst>
              <a:ext uri="{FF2B5EF4-FFF2-40B4-BE49-F238E27FC236}">
                <a16:creationId xmlns:a16="http://schemas.microsoft.com/office/drawing/2014/main" id="{443DA9AE-A188-0E4C-B85D-680933574E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11429997" y="762004"/>
            <a:ext cx="13716000" cy="12191997"/>
          </a:xfrm>
          <a:prstGeom prst="rect">
            <a:avLst/>
          </a:prstGeom>
        </p:spPr>
      </p:pic>
      <p:sp>
        <p:nvSpPr>
          <p:cNvPr id="2" name="Title 1"/>
          <p:cNvSpPr>
            <a:spLocks noGrp="1"/>
          </p:cNvSpPr>
          <p:nvPr>
            <p:ph type="title"/>
          </p:nvPr>
        </p:nvSpPr>
        <p:spPr>
          <a:xfrm>
            <a:off x="365760" y="243840"/>
            <a:ext cx="23408459" cy="11744960"/>
          </a:xfrm>
        </p:spPr>
        <p:txBody>
          <a:bodyPr/>
          <a:lstStyle>
            <a:lvl1pPr>
              <a:defRPr sz="25600" b="0" i="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A18B9625-7542-0C48-A41F-64F8BD1C8617}"/>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6CB4C243-F28F-724D-9C1D-358BA1E83942}"/>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7725058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title, text (dk gray background)">
    <p:spTree>
      <p:nvGrpSpPr>
        <p:cNvPr id="1" name=""/>
        <p:cNvGrpSpPr/>
        <p:nvPr/>
      </p:nvGrpSpPr>
      <p:grpSpPr>
        <a:xfrm>
          <a:off x="0" y="0"/>
          <a:ext cx="0" cy="0"/>
          <a:chOff x="0" y="0"/>
          <a:chExt cx="0" cy="0"/>
        </a:xfrm>
      </p:grpSpPr>
      <p:sp>
        <p:nvSpPr>
          <p:cNvPr id="8" name="Rectangle 7"/>
          <p:cNvSpPr/>
          <p:nvPr/>
        </p:nvSpPr>
        <p:spPr>
          <a:xfrm>
            <a:off x="12192000" y="0"/>
            <a:ext cx="12192000" cy="13716000"/>
          </a:xfrm>
          <a:prstGeom prst="rect">
            <a:avLst/>
          </a:prstGeom>
          <a:solidFill>
            <a:schemeClr val="tx2"/>
          </a:solidFill>
        </p:spPr>
        <p:txBody>
          <a:bodyPr wrap="square" lIns="0" tIns="0" rIns="0" bIns="0" rtlCol="0" anchor="ctr">
            <a:noAutofit/>
          </a:bodyPr>
          <a:lstStyle/>
          <a:p>
            <a:pPr algn="ctr"/>
            <a:endParaRPr lang="en-US" sz="3200" dirty="0">
              <a:solidFill>
                <a:srgbClr val="FFFFFF"/>
              </a:solidFill>
              <a:latin typeface="Arial"/>
              <a:cs typeface="Arial"/>
            </a:endParaRPr>
          </a:p>
        </p:txBody>
      </p:sp>
      <p:sp>
        <p:nvSpPr>
          <p:cNvPr id="2" name="Title 1"/>
          <p:cNvSpPr>
            <a:spLocks noGrp="1"/>
          </p:cNvSpPr>
          <p:nvPr>
            <p:ph type="title"/>
          </p:nvPr>
        </p:nvSpPr>
        <p:spPr>
          <a:xfrm>
            <a:off x="560832" y="536448"/>
            <a:ext cx="11045771" cy="11452352"/>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12777216" y="536448"/>
            <a:ext cx="10997184" cy="114523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F109C46F-505E-D649-81E5-29256C43A5D5}"/>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6BB392D1-372A-7C4B-8910-78D87668B688}"/>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42852805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title, text (dark background)">
    <p:bg>
      <p:bgRef idx="1001">
        <a:schemeClr val="bg2"/>
      </p:bgRef>
    </p:bg>
    <p:spTree>
      <p:nvGrpSpPr>
        <p:cNvPr id="1" name=""/>
        <p:cNvGrpSpPr/>
        <p:nvPr/>
      </p:nvGrpSpPr>
      <p:grpSpPr>
        <a:xfrm>
          <a:off x="0" y="0"/>
          <a:ext cx="0" cy="0"/>
          <a:chOff x="0" y="0"/>
          <a:chExt cx="0" cy="0"/>
        </a:xfrm>
      </p:grpSpPr>
      <p:sp>
        <p:nvSpPr>
          <p:cNvPr id="8" name="Rectangle 7"/>
          <p:cNvSpPr/>
          <p:nvPr/>
        </p:nvSpPr>
        <p:spPr>
          <a:xfrm>
            <a:off x="12192000" y="0"/>
            <a:ext cx="12192000" cy="13716000"/>
          </a:xfrm>
          <a:prstGeom prst="rect">
            <a:avLst/>
          </a:prstGeom>
          <a:solidFill>
            <a:schemeClr val="tx1"/>
          </a:solidFill>
        </p:spPr>
        <p:txBody>
          <a:bodyPr wrap="square" lIns="0" tIns="0" rIns="0" bIns="0" rtlCol="0" anchor="ctr">
            <a:noAutofit/>
          </a:bodyPr>
          <a:lstStyle/>
          <a:p>
            <a:pPr algn="ctr"/>
            <a:endParaRPr lang="en-US" sz="3200" dirty="0">
              <a:solidFill>
                <a:srgbClr val="FFFFFF"/>
              </a:solidFill>
              <a:latin typeface="Arial"/>
              <a:cs typeface="Arial"/>
            </a:endParaRPr>
          </a:p>
        </p:txBody>
      </p:sp>
      <p:sp>
        <p:nvSpPr>
          <p:cNvPr id="2" name="Title 1"/>
          <p:cNvSpPr>
            <a:spLocks noGrp="1"/>
          </p:cNvSpPr>
          <p:nvPr>
            <p:ph type="title"/>
          </p:nvPr>
        </p:nvSpPr>
        <p:spPr>
          <a:xfrm>
            <a:off x="560832" y="536448"/>
            <a:ext cx="11045771"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12777216" y="536448"/>
            <a:ext cx="10997184" cy="114523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7CA7CAD7-E788-0C49-ABC8-F221711C59DA}"/>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662077F7-8DD0-364A-A9A5-61D32D1B3368}"/>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152237007"/>
      </p:ext>
    </p:extLst>
  </p:cSld>
  <p:clrMapOvr>
    <a:overrideClrMapping bg1="dk1" tx1="lt1" bg2="dk2" tx2="lt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12192000" y="0"/>
            <a:ext cx="6096000" cy="6858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10"/>
          <p:cNvSpPr>
            <a:spLocks noGrp="1"/>
          </p:cNvSpPr>
          <p:nvPr>
            <p:ph sz="quarter" idx="18"/>
          </p:nvPr>
        </p:nvSpPr>
        <p:spPr>
          <a:xfrm>
            <a:off x="18288000" y="0"/>
            <a:ext cx="6096000" cy="6858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13"/>
          <p:cNvSpPr>
            <a:spLocks noGrp="1"/>
          </p:cNvSpPr>
          <p:nvPr>
            <p:ph sz="quarter" idx="19"/>
          </p:nvPr>
        </p:nvSpPr>
        <p:spPr>
          <a:xfrm>
            <a:off x="12192000" y="6853767"/>
            <a:ext cx="12192000" cy="6862232"/>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560832" y="536448"/>
            <a:ext cx="11045952" cy="1207685"/>
          </a:xfrm>
        </p:spPr>
        <p:txBody>
          <a:bodyPr/>
          <a:lstStyle/>
          <a:p>
            <a:r>
              <a:rPr lang="en-US"/>
              <a:t>Click to edit Master title style</a:t>
            </a:r>
            <a:endParaRPr lang="en-US" dirty="0"/>
          </a:p>
        </p:txBody>
      </p:sp>
      <p:sp>
        <p:nvSpPr>
          <p:cNvPr id="8" name="Text Placeholder 7"/>
          <p:cNvSpPr>
            <a:spLocks noGrp="1"/>
          </p:cNvSpPr>
          <p:nvPr>
            <p:ph type="body" sz="quarter" idx="13"/>
          </p:nvPr>
        </p:nvSpPr>
        <p:spPr>
          <a:xfrm>
            <a:off x="585216" y="3437467"/>
            <a:ext cx="10997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6A9B1D1-9813-4F41-B9BC-5BFC40EEEB50}"/>
              </a:ext>
            </a:extLst>
          </p:cNvPr>
          <p:cNvSpPr>
            <a:spLocks noGrp="1"/>
          </p:cNvSpPr>
          <p:nvPr>
            <p:ph type="ftr" sz="quarter" idx="20"/>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61710745-53A0-9044-BF38-19D129CCDCFB}"/>
              </a:ext>
            </a:extLst>
          </p:cNvPr>
          <p:cNvSpPr>
            <a:spLocks noGrp="1"/>
          </p:cNvSpPr>
          <p:nvPr>
            <p:ph type="sldNum" sz="quarter" idx="2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22039889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oxes (1 large, 4 small)">
    <p:bg>
      <p:bgRef idx="1001">
        <a:schemeClr val="bg2"/>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3"/>
            <a:ext cx="24384000" cy="6845301"/>
          </a:xfrm>
        </p:spPr>
        <p:txBody>
          <a:bodyPr/>
          <a:lstStyle/>
          <a:p>
            <a:r>
              <a:rPr lang="en-US"/>
              <a:t>Click icon to add picture</a:t>
            </a:r>
          </a:p>
        </p:txBody>
      </p:sp>
      <p:sp>
        <p:nvSpPr>
          <p:cNvPr id="6" name="Content Placeholder 5"/>
          <p:cNvSpPr>
            <a:spLocks noGrp="1"/>
          </p:cNvSpPr>
          <p:nvPr>
            <p:ph sz="quarter" idx="17"/>
          </p:nvPr>
        </p:nvSpPr>
        <p:spPr>
          <a:xfrm>
            <a:off x="12192000" y="6853765"/>
            <a:ext cx="6096000" cy="6862235"/>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11" name="Content Placeholder 10"/>
          <p:cNvSpPr>
            <a:spLocks noGrp="1"/>
          </p:cNvSpPr>
          <p:nvPr>
            <p:ph sz="quarter" idx="18"/>
          </p:nvPr>
        </p:nvSpPr>
        <p:spPr>
          <a:xfrm>
            <a:off x="18288000" y="6853765"/>
            <a:ext cx="6096000" cy="6862235"/>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14" name="Content Placeholder 13"/>
          <p:cNvSpPr>
            <a:spLocks noGrp="1"/>
          </p:cNvSpPr>
          <p:nvPr>
            <p:ph sz="quarter" idx="19"/>
          </p:nvPr>
        </p:nvSpPr>
        <p:spPr>
          <a:xfrm>
            <a:off x="6096003" y="6853767"/>
            <a:ext cx="6096000" cy="6862232"/>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7" name="Content Placeholder 6"/>
          <p:cNvSpPr>
            <a:spLocks noGrp="1"/>
          </p:cNvSpPr>
          <p:nvPr>
            <p:ph sz="quarter" idx="20"/>
          </p:nvPr>
        </p:nvSpPr>
        <p:spPr>
          <a:xfrm>
            <a:off x="0" y="6853767"/>
            <a:ext cx="6096000" cy="6862232"/>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2" name="Title 1"/>
          <p:cNvSpPr>
            <a:spLocks noGrp="1"/>
          </p:cNvSpPr>
          <p:nvPr>
            <p:ph type="title"/>
          </p:nvPr>
        </p:nvSpPr>
        <p:spPr>
          <a:xfrm>
            <a:off x="0" y="-1"/>
            <a:ext cx="24384000" cy="2423624"/>
          </a:xfrm>
          <a:noFill/>
        </p:spPr>
        <p:txBody>
          <a:bodyPr lIns="182880" tIns="164592" rIns="228600" bIns="228600"/>
          <a:lstStyle>
            <a:lvl1pPr>
              <a:defRPr sz="12800"/>
            </a:lvl1pPr>
          </a:lstStyle>
          <a:p>
            <a:r>
              <a:rPr lang="en-US"/>
              <a:t>Click to edit Master title style</a:t>
            </a:r>
            <a:endParaRPr lang="en-US" dirty="0"/>
          </a:p>
        </p:txBody>
      </p:sp>
      <p:grpSp>
        <p:nvGrpSpPr>
          <p:cNvPr id="12" name="Group 11">
            <a:extLst>
              <a:ext uri="{FF2B5EF4-FFF2-40B4-BE49-F238E27FC236}">
                <a16:creationId xmlns:a16="http://schemas.microsoft.com/office/drawing/2014/main" id="{F36D69E9-254D-644D-8C1D-46C37B0583FB}"/>
              </a:ext>
            </a:extLst>
          </p:cNvPr>
          <p:cNvGrpSpPr/>
          <p:nvPr/>
        </p:nvGrpSpPr>
        <p:grpSpPr>
          <a:xfrm>
            <a:off x="6096000" y="7469209"/>
            <a:ext cx="12192000" cy="4513491"/>
            <a:chOff x="2286000" y="2569462"/>
            <a:chExt cx="4572000" cy="1924050"/>
          </a:xfrm>
        </p:grpSpPr>
        <p:cxnSp>
          <p:nvCxnSpPr>
            <p:cNvPr id="13" name="Straight Connector 12">
              <a:extLst>
                <a:ext uri="{FF2B5EF4-FFF2-40B4-BE49-F238E27FC236}">
                  <a16:creationId xmlns:a16="http://schemas.microsoft.com/office/drawing/2014/main" id="{AFB0E57D-C960-3344-993A-8169C2BEDF84}"/>
                </a:ext>
              </a:extLst>
            </p:cNvPr>
            <p:cNvCxnSpPr>
              <a:cxnSpLocks/>
            </p:cNvCxnSpPr>
            <p:nvPr/>
          </p:nvCxnSpPr>
          <p:spPr bwMode="auto">
            <a:xfrm>
              <a:off x="2286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F92D36A-8B5C-1D4E-A115-8CBC6E37567A}"/>
                </a:ext>
              </a:extLst>
            </p:cNvPr>
            <p:cNvCxnSpPr>
              <a:cxnSpLocks/>
            </p:cNvCxnSpPr>
            <p:nvPr/>
          </p:nvCxnSpPr>
          <p:spPr bwMode="auto">
            <a:xfrm>
              <a:off x="4572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3B54559-51C6-3948-B044-E20ABFD6F32B}"/>
                </a:ext>
              </a:extLst>
            </p:cNvPr>
            <p:cNvCxnSpPr>
              <a:cxnSpLocks/>
            </p:cNvCxnSpPr>
            <p:nvPr/>
          </p:nvCxnSpPr>
          <p:spPr bwMode="auto">
            <a:xfrm>
              <a:off x="6858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5" name="Footer Placeholder 4">
            <a:extLst>
              <a:ext uri="{FF2B5EF4-FFF2-40B4-BE49-F238E27FC236}">
                <a16:creationId xmlns:a16="http://schemas.microsoft.com/office/drawing/2014/main" id="{911D84F5-FD6C-1A46-829E-372F2BB78A16}"/>
              </a:ext>
            </a:extLst>
          </p:cNvPr>
          <p:cNvSpPr>
            <a:spLocks noGrp="1"/>
          </p:cNvSpPr>
          <p:nvPr>
            <p:ph type="ftr" sz="quarter" idx="22"/>
          </p:nvPr>
        </p:nvSpPr>
        <p:spPr/>
        <p:txBody>
          <a:bodyPr/>
          <a:lstStyle>
            <a:lvl1pPr>
              <a:defRPr>
                <a:solidFill>
                  <a:srgbClr val="6F6F6F"/>
                </a:solidFill>
              </a:defRPr>
            </a:lvl1pPr>
          </a:lstStyle>
          <a:p>
            <a:endParaRPr lang="en-IL"/>
          </a:p>
        </p:txBody>
      </p:sp>
      <p:sp>
        <p:nvSpPr>
          <p:cNvPr id="8" name="Slide Number Placeholder 7">
            <a:extLst>
              <a:ext uri="{FF2B5EF4-FFF2-40B4-BE49-F238E27FC236}">
                <a16:creationId xmlns:a16="http://schemas.microsoft.com/office/drawing/2014/main" id="{29EECE90-7195-5649-9B86-77F408533761}"/>
              </a:ext>
            </a:extLst>
          </p:cNvPr>
          <p:cNvSpPr>
            <a:spLocks noGrp="1"/>
          </p:cNvSpPr>
          <p:nvPr>
            <p:ph type="sldNum" sz="quarter" idx="23"/>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644601992"/>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3"/>
          </p:nvPr>
        </p:nvSpPr>
        <p:spPr>
          <a:xfrm>
            <a:off x="560832" y="3243073"/>
            <a:ext cx="11045952" cy="8745727"/>
          </a:xfrm>
        </p:spPr>
        <p:txBody>
          <a:bodyPr/>
          <a:lstStyle>
            <a:lvl1pPr>
              <a:defRPr sz="6394"/>
            </a:lvl1pPr>
          </a:lstStyle>
          <a:p>
            <a:pPr lvl="0"/>
            <a:r>
              <a:rPr lang="en-US"/>
              <a:t>Click to edit Master text styles</a:t>
            </a:r>
          </a:p>
        </p:txBody>
      </p:sp>
    </p:spTree>
    <p:extLst>
      <p:ext uri="{BB962C8B-B14F-4D97-AF65-F5344CB8AC3E}">
        <p14:creationId xmlns:p14="http://schemas.microsoft.com/office/powerpoint/2010/main" val="198803564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boxes (1 large, 4 small)">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3"/>
            <a:ext cx="24384000" cy="6845301"/>
          </a:xfrm>
        </p:spPr>
        <p:txBody>
          <a:bodyPr/>
          <a:lstStyle/>
          <a:p>
            <a:r>
              <a:rPr lang="en-US"/>
              <a:t>Click icon to add picture</a:t>
            </a:r>
          </a:p>
        </p:txBody>
      </p:sp>
      <p:pic>
        <p:nvPicPr>
          <p:cNvPr id="9" name="Picture 8">
            <a:extLst>
              <a:ext uri="{FF2B5EF4-FFF2-40B4-BE49-F238E27FC236}">
                <a16:creationId xmlns:a16="http://schemas.microsoft.com/office/drawing/2014/main" id="{7C66CE9F-64C5-DA4D-A565-35822968D6F9}"/>
              </a:ext>
            </a:extLst>
          </p:cNvPr>
          <p:cNvPicPr>
            <a:picLocks noChangeAspect="1"/>
          </p:cNvPicPr>
          <p:nvPr/>
        </p:nvPicPr>
        <p:blipFill rotWithShape="1">
          <a:blip r:embed="rId2"/>
          <a:srcRect r="383"/>
          <a:stretch/>
        </p:blipFill>
        <p:spPr>
          <a:xfrm>
            <a:off x="0" y="6846612"/>
            <a:ext cx="24384000" cy="6864099"/>
          </a:xfrm>
          <a:prstGeom prst="rect">
            <a:avLst/>
          </a:prstGeom>
        </p:spPr>
      </p:pic>
      <p:sp>
        <p:nvSpPr>
          <p:cNvPr id="6" name="Content Placeholder 5"/>
          <p:cNvSpPr>
            <a:spLocks noGrp="1"/>
          </p:cNvSpPr>
          <p:nvPr>
            <p:ph sz="quarter" idx="17"/>
          </p:nvPr>
        </p:nvSpPr>
        <p:spPr>
          <a:xfrm>
            <a:off x="12192000" y="6853765"/>
            <a:ext cx="6096000" cy="6862235"/>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10"/>
          <p:cNvSpPr>
            <a:spLocks noGrp="1"/>
          </p:cNvSpPr>
          <p:nvPr>
            <p:ph sz="quarter" idx="18"/>
          </p:nvPr>
        </p:nvSpPr>
        <p:spPr>
          <a:xfrm>
            <a:off x="18288000" y="6853765"/>
            <a:ext cx="6096000" cy="6862235"/>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13"/>
          <p:cNvSpPr>
            <a:spLocks noGrp="1"/>
          </p:cNvSpPr>
          <p:nvPr>
            <p:ph sz="quarter" idx="19"/>
          </p:nvPr>
        </p:nvSpPr>
        <p:spPr>
          <a:xfrm>
            <a:off x="6096003" y="6853767"/>
            <a:ext cx="6096000" cy="6862232"/>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6"/>
          <p:cNvSpPr>
            <a:spLocks noGrp="1"/>
          </p:cNvSpPr>
          <p:nvPr>
            <p:ph sz="quarter" idx="20"/>
          </p:nvPr>
        </p:nvSpPr>
        <p:spPr>
          <a:xfrm>
            <a:off x="0" y="6853767"/>
            <a:ext cx="6096000" cy="6862232"/>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0" y="-1"/>
            <a:ext cx="24384000" cy="2423624"/>
          </a:xfrm>
          <a:noFill/>
        </p:spPr>
        <p:txBody>
          <a:bodyPr lIns="182880" tIns="164592" rIns="228600" bIns="228600"/>
          <a:lstStyle>
            <a:lvl1pPr>
              <a:defRPr sz="12800"/>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64DFE621-1B2E-C949-8FE8-199F4FC0DF6A}"/>
              </a:ext>
            </a:extLst>
          </p:cNvPr>
          <p:cNvSpPr>
            <a:spLocks noGrp="1"/>
          </p:cNvSpPr>
          <p:nvPr>
            <p:ph type="ftr" sz="quarter" idx="22"/>
          </p:nvPr>
        </p:nvSpPr>
        <p:spPr/>
        <p:txBody>
          <a:bodyPr/>
          <a:lstStyle>
            <a:lvl1pPr>
              <a:defRPr>
                <a:solidFill>
                  <a:srgbClr val="868D95"/>
                </a:solidFill>
              </a:defRPr>
            </a:lvl1pPr>
          </a:lstStyle>
          <a:p>
            <a:endParaRPr lang="en-IL"/>
          </a:p>
        </p:txBody>
      </p:sp>
      <p:sp>
        <p:nvSpPr>
          <p:cNvPr id="8" name="Slide Number Placeholder 7">
            <a:extLst>
              <a:ext uri="{FF2B5EF4-FFF2-40B4-BE49-F238E27FC236}">
                <a16:creationId xmlns:a16="http://schemas.microsoft.com/office/drawing/2014/main" id="{B87219F8-889D-254D-8704-4BBE27C80463}"/>
              </a:ext>
            </a:extLst>
          </p:cNvPr>
          <p:cNvSpPr>
            <a:spLocks noGrp="1"/>
          </p:cNvSpPr>
          <p:nvPr>
            <p:ph type="sldNum" sz="quarter" idx="23"/>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89939897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24384000" cy="13728192"/>
          </a:xfrm>
        </p:spPr>
        <p:txBody>
          <a:bodyPr lIns="91440" tIns="91440" rIns="91440" bIns="91440">
            <a:noAutofit/>
          </a:bodyPr>
          <a:lstStyle/>
          <a:p>
            <a:r>
              <a:rPr lang="en-US"/>
              <a:t>Click icon to add picture</a:t>
            </a:r>
            <a:endParaRPr lang="en-US" dirty="0"/>
          </a:p>
        </p:txBody>
      </p:sp>
      <p:sp>
        <p:nvSpPr>
          <p:cNvPr id="8" name="Text Placeholder 5"/>
          <p:cNvSpPr>
            <a:spLocks noGrp="1"/>
          </p:cNvSpPr>
          <p:nvPr>
            <p:ph type="body" sz="quarter" idx="13"/>
          </p:nvPr>
        </p:nvSpPr>
        <p:spPr>
          <a:xfrm>
            <a:off x="0" y="6883404"/>
            <a:ext cx="6096000" cy="6832600"/>
          </a:xfrm>
          <a:solidFill>
            <a:schemeClr val="bg1"/>
          </a:solidFill>
        </p:spPr>
        <p:txBody>
          <a:bodyPr lIns="228600" tIns="228600" rIns="228600" b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4" y="6858000"/>
            <a:ext cx="11582408" cy="6858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2667">
                <a:solidFill>
                  <a:schemeClr val="bg1"/>
                </a:solidFill>
              </a:defRPr>
            </a:lvl2pPr>
            <a:lvl3pPr>
              <a:buClr>
                <a:schemeClr val="bg1"/>
              </a:buClr>
              <a:defRPr sz="2667">
                <a:solidFill>
                  <a:schemeClr val="bg1"/>
                </a:solidFill>
              </a:defRPr>
            </a:lvl3pPr>
            <a:lvl4pPr>
              <a:buClr>
                <a:schemeClr val="bg1"/>
              </a:buClr>
              <a:defRPr sz="2667">
                <a:solidFill>
                  <a:schemeClr val="bg1"/>
                </a:solidFill>
              </a:defRPr>
            </a:lvl4pPr>
            <a:lvl5pPr>
              <a:buClr>
                <a:schemeClr val="bg1"/>
              </a:buClr>
              <a:defRPr sz="2667">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0AF9CA8C-3F6A-5247-880F-59649A54CD2F}"/>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3C4C8494-8B42-394D-9B61-EF427D4041DA}"/>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99832552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0"/>
            <a:ext cx="6096000" cy="13728192"/>
          </a:xfrm>
          <a:solidFill>
            <a:schemeClr val="tx1"/>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6096000" y="0"/>
            <a:ext cx="6096000" cy="13728192"/>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12192000" y="0"/>
            <a:ext cx="6096000" cy="13728192"/>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18288000" y="0"/>
            <a:ext cx="6096000" cy="13728192"/>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81E26E31-62C3-B846-9239-1F202BAD88B4}"/>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4906F7D2-B91A-6D44-AEC4-5DE89DB4FE4B}"/>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73676130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ase study: Title, text (two columns), half-image">
    <p:bg>
      <p:bgRef idx="1001">
        <a:schemeClr val="bg2"/>
      </p:bgRef>
    </p:bg>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560832" y="536452"/>
            <a:ext cx="11045952" cy="886397"/>
          </a:xfrm>
        </p:spPr>
        <p:txBody>
          <a:bodyPr>
            <a:noAutofit/>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3"/>
          </p:nvPr>
        </p:nvSpPr>
        <p:spPr>
          <a:xfrm>
            <a:off x="585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6681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4DDA329-5562-8D4F-B82D-53391A3C458A}"/>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9" name="Slide Number Placeholder 8">
            <a:extLst>
              <a:ext uri="{FF2B5EF4-FFF2-40B4-BE49-F238E27FC236}">
                <a16:creationId xmlns:a16="http://schemas.microsoft.com/office/drawing/2014/main" id="{B773A402-A82B-C246-88C4-1E5D36FA57E5}"/>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871397941"/>
      </p:ext>
    </p:extLst>
  </p:cSld>
  <p:clrMapOvr>
    <a:overrideClrMapping bg1="dk1" tx1="lt1" bg2="dk2" tx2="lt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Case study 2: title, text (2/4), quote (2/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7117568" cy="2145792"/>
          </a:xfrm>
        </p:spPr>
        <p:txBody>
          <a:bodyPr/>
          <a:lstStyle>
            <a:lvl1pPr>
              <a:buClrTx/>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316224"/>
            <a:ext cx="4901184" cy="8672576"/>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4"/>
            <a:ext cx="4901184" cy="8672576"/>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28448" y="3243072"/>
            <a:ext cx="11045952" cy="8745728"/>
          </a:xfrm>
        </p:spPr>
        <p:txBody>
          <a:bodyPr/>
          <a:lstStyle>
            <a:lvl1pPr>
              <a:buClrTx/>
              <a:defRPr sz="6400">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AA42E89-5A6F-884F-B2C1-4CFD1FD65323}"/>
              </a:ext>
            </a:extLst>
          </p:cNvPr>
          <p:cNvSpPr>
            <a:spLocks noGrp="1"/>
          </p:cNvSpPr>
          <p:nvPr>
            <p:ph type="ftr" sz="quarter" idx="15"/>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CD6983AC-2CA4-BD44-9B9B-9913BCE147F4}"/>
              </a:ext>
            </a:extLst>
          </p:cNvPr>
          <p:cNvSpPr>
            <a:spLocks noGrp="1"/>
          </p:cNvSpPr>
          <p:nvPr>
            <p:ph type="sldNum" sz="quarter" idx="16"/>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48304095"/>
      </p:ext>
    </p:extLst>
  </p:cSld>
  <p:clrMapOvr>
    <a:overrideClrMapping bg1="dk1" tx1="lt1" bg2="dk2" tx2="lt2" accent1="accent1" accent2="accent2" accent3="accent3" accent4="accent4" accent5="accent5" accent6="accent6" hlink="hlink" folHlink="folHlink"/>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Title, image, Icons with List">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0" y="0"/>
            <a:ext cx="12192000" cy="13716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A5EFC02-3827-2744-836D-C9DB29A7E5BD}"/>
              </a:ext>
            </a:extLst>
          </p:cNvPr>
          <p:cNvSpPr>
            <a:spLocks noGrp="1"/>
          </p:cNvSpPr>
          <p:nvPr>
            <p:ph type="body" sz="quarter" idx="15"/>
          </p:nvPr>
        </p:nvSpPr>
        <p:spPr>
          <a:xfrm>
            <a:off x="15955435" y="3290532"/>
            <a:ext cx="7818965" cy="8520472"/>
          </a:xfrm>
        </p:spPr>
        <p:txBody>
          <a:bodyPr/>
          <a:lstStyle>
            <a:lvl1pPr>
              <a:spcBef>
                <a:spcPts val="480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C072EAC-A037-3B44-858E-00CE6DEB5111}"/>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8" name="Slide Number Placeholder 7">
            <a:extLst>
              <a:ext uri="{FF2B5EF4-FFF2-40B4-BE49-F238E27FC236}">
                <a16:creationId xmlns:a16="http://schemas.microsoft.com/office/drawing/2014/main" id="{FE522886-2A46-EB42-9B82-6D2AFE86B586}"/>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60143470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2E44D3D-8CDB-A046-93AC-250C5580811A}"/>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DEC21C50-4E8D-A942-A9B0-5BBD66C88946}"/>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22664359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nk with no footer ">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16877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hield - Black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2CF9A7-52A1-D546-A8F7-F07542B2113B}"/>
              </a:ext>
            </a:extLst>
          </p:cNvPr>
          <p:cNvPicPr>
            <a:picLocks/>
          </p:cNvPicPr>
          <p:nvPr/>
        </p:nvPicPr>
        <p:blipFill>
          <a:blip r:embed="rId2"/>
          <a:stretch>
            <a:fillRect/>
          </a:stretch>
        </p:blipFill>
        <p:spPr>
          <a:xfrm>
            <a:off x="9538769" y="4342947"/>
            <a:ext cx="5079555" cy="5071872"/>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p:nvPicPr>
        <p:blipFill>
          <a:blip r:embed="rId3"/>
          <a:stretch>
            <a:fillRect/>
          </a:stretch>
        </p:blipFill>
        <p:spPr>
          <a:xfrm>
            <a:off x="10138013" y="4267577"/>
            <a:ext cx="4107979" cy="5180851"/>
          </a:xfrm>
          <a:prstGeom prst="rect">
            <a:avLst/>
          </a:prstGeom>
        </p:spPr>
      </p:pic>
    </p:spTree>
    <p:extLst>
      <p:ext uri="{BB962C8B-B14F-4D97-AF65-F5344CB8AC3E}">
        <p14:creationId xmlns:p14="http://schemas.microsoft.com/office/powerpoint/2010/main" val="52747083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hield with Aurora">
    <p:spTree>
      <p:nvGrpSpPr>
        <p:cNvPr id="1" name=""/>
        <p:cNvGrpSpPr/>
        <p:nvPr/>
      </p:nvGrpSpPr>
      <p:grpSpPr>
        <a:xfrm>
          <a:off x="0" y="0"/>
          <a:ext cx="0" cy="0"/>
          <a:chOff x="0" y="0"/>
          <a:chExt cx="0" cy="0"/>
        </a:xfrm>
      </p:grpSpPr>
      <p:pic>
        <p:nvPicPr>
          <p:cNvPr id="5" name="Picture 4" descr="Cropped_Aurora_Primary- Top.png">
            <a:extLst>
              <a:ext uri="{FF2B5EF4-FFF2-40B4-BE49-F238E27FC236}">
                <a16:creationId xmlns:a16="http://schemas.microsoft.com/office/drawing/2014/main" id="{774AC9E1-3804-434F-AA3F-DEAB5BC402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7"/>
            <a:ext cx="24384000" cy="13749867"/>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p:nvPicPr>
        <p:blipFill>
          <a:blip r:embed="rId3"/>
          <a:stretch>
            <a:fillRect/>
          </a:stretch>
        </p:blipFill>
        <p:spPr>
          <a:xfrm>
            <a:off x="10138013" y="4267577"/>
            <a:ext cx="4107979" cy="5180851"/>
          </a:xfrm>
          <a:prstGeom prst="rect">
            <a:avLst/>
          </a:prstGeom>
        </p:spPr>
      </p:pic>
    </p:spTree>
    <p:extLst>
      <p:ext uri="{BB962C8B-B14F-4D97-AF65-F5344CB8AC3E}">
        <p14:creationId xmlns:p14="http://schemas.microsoft.com/office/powerpoint/2010/main" val="33583739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18873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786187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Thank you mandatory slide">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B6C4513-0568-DF45-BC9F-5834ED1B874D}"/>
              </a:ext>
            </a:extLst>
          </p:cNvPr>
          <p:cNvSpPr txBox="1">
            <a:spLocks/>
          </p:cNvSpPr>
          <p:nvPr/>
        </p:nvSpPr>
        <p:spPr>
          <a:xfrm>
            <a:off x="12801600" y="3231900"/>
            <a:ext cx="10972800" cy="7029704"/>
          </a:xfrm>
          <a:prstGeom prst="rect">
            <a:avLst/>
          </a:prstGeom>
        </p:spPr>
        <p:txBody>
          <a:bodyPr vert="horz" lIns="0" tIns="0" rIns="0" bIns="0" rtlCol="0" anchor="t" anchorCtr="0">
            <a:noAutofit/>
          </a:bodyPr>
          <a:lstStyle>
            <a:lvl1pPr marL="0" indent="0" algn="l" rtl="0" eaLnBrk="1" fontAlgn="base" hangingPunct="1">
              <a:lnSpc>
                <a:spcPct val="100000"/>
              </a:lnSpc>
              <a:spcBef>
                <a:spcPts val="0"/>
              </a:spcBef>
              <a:spcAft>
                <a:spcPct val="0"/>
              </a:spcAft>
              <a:buClr>
                <a:srgbClr val="6D6E70"/>
              </a:buClr>
              <a:buSzPct val="90000"/>
              <a:buFont typeface="Wingdings" pitchFamily="2" charset="2"/>
              <a:buNone/>
              <a:defRPr sz="1000">
                <a:solidFill>
                  <a:schemeClr val="bg1"/>
                </a:solidFill>
                <a:latin typeface="IBM Plex Sans" charset="0"/>
                <a:ea typeface="IBM Plex Sans" charset="0"/>
                <a:cs typeface="IBM Plex Sans" charset="0"/>
              </a:defRPr>
            </a:lvl1pPr>
            <a:lvl2pPr marL="0" indent="0" algn="l" rtl="0" eaLnBrk="1" fontAlgn="base" hangingPunct="1">
              <a:lnSpc>
                <a:spcPct val="100000"/>
              </a:lnSpc>
              <a:spcBef>
                <a:spcPts val="0"/>
              </a:spcBef>
              <a:spcAft>
                <a:spcPct val="0"/>
              </a:spcAft>
              <a:buClr>
                <a:schemeClr val="bg1"/>
              </a:buClr>
              <a:buSzPct val="100000"/>
              <a:buFont typeface=".AppleSystemUIFont" charset="-120"/>
              <a:buNone/>
              <a:tabLst/>
              <a:defRPr sz="1400">
                <a:solidFill>
                  <a:schemeClr val="bg1"/>
                </a:solidFill>
                <a:latin typeface="IBM Plex Sans" charset="0"/>
                <a:ea typeface="IBM Plex Sans" charset="0"/>
                <a:cs typeface="IBM Plex Sans" charset="0"/>
              </a:defRPr>
            </a:lvl2pPr>
            <a:lvl3pPr marL="201612" indent="0" algn="l" rtl="0" eaLnBrk="1" fontAlgn="base" hangingPunct="1">
              <a:lnSpc>
                <a:spcPct val="100000"/>
              </a:lnSpc>
              <a:spcBef>
                <a:spcPts val="1100"/>
              </a:spcBef>
              <a:spcAft>
                <a:spcPct val="0"/>
              </a:spcAft>
              <a:buClr>
                <a:schemeClr val="bg1"/>
              </a:buClr>
              <a:buSzPct val="100000"/>
              <a:buFont typeface="Arial" panose="020B0604020202020204" pitchFamily="34" charset="0"/>
              <a:buNone/>
              <a:tabLst/>
              <a:defRPr sz="1400">
                <a:solidFill>
                  <a:schemeClr val="bg1"/>
                </a:solidFill>
                <a:latin typeface="IBM Plex Sans" charset="0"/>
                <a:ea typeface="IBM Plex Sans" charset="0"/>
                <a:cs typeface="IBM Plex Sans" charset="0"/>
              </a:defRPr>
            </a:lvl3pPr>
            <a:lvl4pPr marL="434975" indent="0" algn="l" rtl="0" eaLnBrk="1" fontAlgn="base" hangingPunct="1">
              <a:lnSpc>
                <a:spcPct val="100000"/>
              </a:lnSpc>
              <a:spcBef>
                <a:spcPts val="1100"/>
              </a:spcBef>
              <a:spcAft>
                <a:spcPct val="0"/>
              </a:spcAft>
              <a:buClr>
                <a:schemeClr val="bg1"/>
              </a:buClr>
              <a:buSzPct val="100000"/>
              <a:buFont typeface=".AppleSystemUIFont" charset="-120"/>
              <a:buNone/>
              <a:tabLst/>
              <a:defRPr sz="1400" baseline="0">
                <a:solidFill>
                  <a:schemeClr val="bg1"/>
                </a:solidFill>
                <a:latin typeface="IBM Plex Sans" charset="0"/>
                <a:ea typeface="IBM Plex Sans" charset="0"/>
                <a:cs typeface="IBM Plex Sans" charset="0"/>
              </a:defRPr>
            </a:lvl4pPr>
            <a:lvl5pPr marL="631825" indent="0" algn="l" rtl="0" eaLnBrk="1" fontAlgn="base" hangingPunct="1">
              <a:lnSpc>
                <a:spcPct val="100000"/>
              </a:lnSpc>
              <a:spcBef>
                <a:spcPts val="1100"/>
              </a:spcBef>
              <a:spcAft>
                <a:spcPct val="0"/>
              </a:spcAft>
              <a:buClr>
                <a:schemeClr val="bg1"/>
              </a:buClr>
              <a:buFont typeface=".AppleSystemUIFont" charset="-120"/>
              <a:buNone/>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2438372">
              <a:spcAft>
                <a:spcPts val="800"/>
              </a:spcAft>
            </a:pPr>
            <a:r>
              <a:rPr lang="en-US" sz="1600" b="0" i="0" kern="0" dirty="0">
                <a:solidFill>
                  <a:srgbClr val="868D95"/>
                </a:solidFill>
                <a:latin typeface="Arial" panose="020B0604020202020204" pitchFamily="34" charset="0"/>
                <a:cs typeface="Arial" panose="020B0604020202020204" pitchFamily="34" charset="0"/>
              </a:rPr>
              <a:t>© Copyright IBM Corporation 2019.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defTabSz="2438372">
              <a:spcAft>
                <a:spcPts val="800"/>
              </a:spcAft>
            </a:pPr>
            <a:r>
              <a:rPr lang="en-US" sz="1600" b="0" i="0" kern="0" dirty="0">
                <a:solidFill>
                  <a:srgbClr val="868D95"/>
                </a:solidFill>
                <a:latin typeface="Arial" panose="020B0604020202020204" pitchFamily="34" charset="0"/>
                <a:cs typeface="Arial" panose="020B0604020202020204" pitchFamily="34" charset="0"/>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p>
        </p:txBody>
      </p:sp>
      <p:pic>
        <p:nvPicPr>
          <p:cNvPr id="12" name="Picture 11">
            <a:extLst>
              <a:ext uri="{FF2B5EF4-FFF2-40B4-BE49-F238E27FC236}">
                <a16:creationId xmlns:a16="http://schemas.microsoft.com/office/drawing/2014/main" id="{C0D1F545-4658-C745-83C8-A6FB04D766E8}"/>
              </a:ext>
            </a:extLst>
          </p:cNvPr>
          <p:cNvPicPr>
            <a:picLocks noChangeAspect="1"/>
          </p:cNvPicPr>
          <p:nvPr/>
        </p:nvPicPr>
        <p:blipFill>
          <a:blip r:embed="rId2"/>
          <a:stretch>
            <a:fillRect/>
          </a:stretch>
        </p:blipFill>
        <p:spPr>
          <a:xfrm>
            <a:off x="22383500" y="12514876"/>
            <a:ext cx="1390904" cy="551443"/>
          </a:xfrm>
          <a:prstGeom prst="rect">
            <a:avLst/>
          </a:prstGeom>
        </p:spPr>
      </p:pic>
      <p:pic>
        <p:nvPicPr>
          <p:cNvPr id="13" name="Picture 12">
            <a:extLst>
              <a:ext uri="{FF2B5EF4-FFF2-40B4-BE49-F238E27FC236}">
                <a16:creationId xmlns:a16="http://schemas.microsoft.com/office/drawing/2014/main" id="{42781FF6-F57F-3642-B9AF-E72446717EF7}"/>
              </a:ext>
            </a:extLst>
          </p:cNvPr>
          <p:cNvPicPr>
            <a:picLocks noChangeAspect="1"/>
          </p:cNvPicPr>
          <p:nvPr/>
        </p:nvPicPr>
        <p:blipFill>
          <a:blip r:embed="rId3"/>
          <a:stretch>
            <a:fillRect/>
          </a:stretch>
        </p:blipFill>
        <p:spPr>
          <a:xfrm>
            <a:off x="620159" y="12610370"/>
            <a:ext cx="3633848" cy="579741"/>
          </a:xfrm>
          <a:prstGeom prst="rect">
            <a:avLst/>
          </a:prstGeom>
        </p:spPr>
      </p:pic>
      <p:sp>
        <p:nvSpPr>
          <p:cNvPr id="15" name="Text Placeholder 5">
            <a:extLst>
              <a:ext uri="{FF2B5EF4-FFF2-40B4-BE49-F238E27FC236}">
                <a16:creationId xmlns:a16="http://schemas.microsoft.com/office/drawing/2014/main" id="{8B82F0A0-00CA-B846-BA46-A05FFCB6AB88}"/>
              </a:ext>
            </a:extLst>
          </p:cNvPr>
          <p:cNvSpPr txBox="1">
            <a:spLocks/>
          </p:cNvSpPr>
          <p:nvPr/>
        </p:nvSpPr>
        <p:spPr>
          <a:xfrm>
            <a:off x="346460" y="2941660"/>
            <a:ext cx="10934701" cy="6517181"/>
          </a:xfrm>
          <a:prstGeom prst="rect">
            <a:avLst/>
          </a:prstGeom>
        </p:spPr>
        <p:txBody>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200">
                <a:solidFill>
                  <a:srgbClr val="6EA6FF"/>
                </a:solidFill>
                <a:latin typeface="IBM Plex Sans" charset="0"/>
                <a:ea typeface="IBM Plex Sans" charset="0"/>
                <a:cs typeface="IBM Plex Sans" charset="0"/>
              </a:defRPr>
            </a:lvl1pPr>
            <a:lvl2pPr marL="171450" indent="-171450"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charset="0"/>
                <a:ea typeface="IBM Plex Sans" charset="0"/>
                <a:cs typeface="IBM Plex Sans" charset="0"/>
              </a:defRPr>
            </a:lvl2pPr>
            <a:lvl3pPr marL="342900" indent="-141288" algn="l" rtl="0" eaLnBrk="1" fontAlgn="base" hangingPunct="1">
              <a:lnSpc>
                <a:spcPct val="100000"/>
              </a:lnSpc>
              <a:spcBef>
                <a:spcPts val="1100"/>
              </a:spcBef>
              <a:spcAft>
                <a:spcPct val="0"/>
              </a:spcAft>
              <a:buClr>
                <a:schemeClr val="bg1"/>
              </a:buClr>
              <a:buSzPct val="100000"/>
              <a:buFont typeface="System Font Regular"/>
              <a:buChar char="–"/>
              <a:tabLst/>
              <a:defRPr sz="1400">
                <a:solidFill>
                  <a:schemeClr val="bg1"/>
                </a:solidFill>
                <a:latin typeface="IBM Plex Sans" charset="0"/>
                <a:ea typeface="IBM Plex Sans" charset="0"/>
                <a:cs typeface="IBM Plex Sans" charset="0"/>
              </a:defRPr>
            </a:lvl3pPr>
            <a:lvl4pPr marL="628650" indent="-193675" algn="l" rtl="0" eaLnBrk="1" fontAlgn="base" hangingPunct="1">
              <a:lnSpc>
                <a:spcPct val="100000"/>
              </a:lnSpc>
              <a:spcBef>
                <a:spcPts val="1100"/>
              </a:spcBef>
              <a:spcAft>
                <a:spcPct val="0"/>
              </a:spcAft>
              <a:buClr>
                <a:schemeClr val="bg1"/>
              </a:buClr>
              <a:buSzPct val="100000"/>
              <a:buFont typeface="System Font Regular"/>
              <a:buChar char="»"/>
              <a:tabLst/>
              <a:defRPr sz="1400" baseline="0">
                <a:solidFill>
                  <a:schemeClr val="bg1"/>
                </a:solidFill>
                <a:latin typeface="IBM Plex Sans" charset="0"/>
                <a:ea typeface="IBM Plex Sans" charset="0"/>
                <a:cs typeface="IBM Plex Sans" charset="0"/>
              </a:defRPr>
            </a:lvl4pPr>
            <a:lvl5pPr marL="803275" indent="-171450" algn="l" rtl="0" eaLnBrk="1" fontAlgn="base" hangingPunct="1">
              <a:lnSpc>
                <a:spcPct val="100000"/>
              </a:lnSpc>
              <a:spcBef>
                <a:spcPts val="1100"/>
              </a:spcBef>
              <a:spcAft>
                <a:spcPct val="0"/>
              </a:spcAft>
              <a:buClr>
                <a:schemeClr val="bg1"/>
              </a:buClr>
              <a:buFont typeface="System Font Regular"/>
              <a:buChar char="–"/>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2438372"/>
            <a:r>
              <a:rPr lang="en-US" sz="3200" b="0" i="0" kern="0" dirty="0">
                <a:solidFill>
                  <a:schemeClr val="bg1"/>
                </a:solidFill>
                <a:latin typeface="Arial" panose="020B0604020202020204" pitchFamily="34" charset="0"/>
                <a:cs typeface="Arial" panose="020B0604020202020204" pitchFamily="34" charset="0"/>
              </a:rPr>
              <a:t>Follow us on:</a:t>
            </a:r>
          </a:p>
          <a:p>
            <a:pPr defTabSz="2438372"/>
            <a:r>
              <a:rPr lang="en-US" sz="3200" b="0" i="0" kern="0" dirty="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ibm.com/security</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securityintelligence.com</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ibm.com/security/community</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xforce.ibmcloud.com</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bmsecurity</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youtube/user/ibmsecuritysolutions</a:t>
            </a:r>
            <a:endParaRPr lang="en-US" sz="3200" b="0" i="0" kern="0" dirty="0">
              <a:latin typeface="Arial" panose="020B0604020202020204" pitchFamily="34" charset="0"/>
              <a:cs typeface="Arial" panose="020B0604020202020204" pitchFamily="34" charset="0"/>
            </a:endParaRPr>
          </a:p>
          <a:p>
            <a:pPr defTabSz="2438372"/>
            <a:endParaRPr lang="en-US" sz="3200" b="0" i="0" kern="0" dirty="0">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8AEADD43-A049-8E43-AF32-ACC956D74427}"/>
              </a:ext>
            </a:extLst>
          </p:cNvPr>
          <p:cNvSpPr/>
          <p:nvPr/>
        </p:nvSpPr>
        <p:spPr>
          <a:xfrm>
            <a:off x="609603" y="447239"/>
            <a:ext cx="3834383" cy="984885"/>
          </a:xfrm>
          <a:prstGeom prst="rect">
            <a:avLst/>
          </a:prstGeom>
        </p:spPr>
        <p:txBody>
          <a:bodyPr wrap="none" lIns="0" tIns="0" rIns="0" bIns="0">
            <a:spAutoFit/>
          </a:bodyPr>
          <a:lstStyle/>
          <a:p>
            <a:r>
              <a:rPr kumimoji="0" lang="en-US" sz="6400" b="0" i="0" u="none" strike="noStrike" kern="0" cap="none" spc="0" normalizeH="0" baseline="0" noProof="0" dirty="0">
                <a:ln>
                  <a:noFill/>
                </a:ln>
                <a:solidFill>
                  <a:srgbClr val="FFFFFF"/>
                </a:solidFill>
                <a:effectLst/>
                <a:uLnTx/>
                <a:uFillTx/>
                <a:latin typeface="Arial" panose="020B0604020202020204" pitchFamily="34" charset="0"/>
              </a:rPr>
              <a:t>Thank you</a:t>
            </a:r>
            <a:endParaRPr lang="en-US" sz="4800" dirty="0"/>
          </a:p>
        </p:txBody>
      </p:sp>
    </p:spTree>
    <p:extLst>
      <p:ext uri="{BB962C8B-B14F-4D97-AF65-F5344CB8AC3E}">
        <p14:creationId xmlns:p14="http://schemas.microsoft.com/office/powerpoint/2010/main" val="68557462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ibm sign-off">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25AB14-2141-2D42-99D8-5779FEA495E0}"/>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24384000" cy="13716000"/>
          </a:xfrm>
          <a:prstGeom prst="rect">
            <a:avLst/>
          </a:prstGeom>
        </p:spPr>
      </p:pic>
      <p:pic>
        <p:nvPicPr>
          <p:cNvPr id="6" name="Picture 5"/>
          <p:cNvPicPr>
            <a:picLocks noChangeAspect="1"/>
          </p:cNvPicPr>
          <p:nvPr/>
        </p:nvPicPr>
        <p:blipFill>
          <a:blip r:embed="rId3"/>
          <a:stretch>
            <a:fillRect/>
          </a:stretch>
        </p:blipFill>
        <p:spPr>
          <a:xfrm>
            <a:off x="10469208" y="6174980"/>
            <a:ext cx="3445584" cy="1366051"/>
          </a:xfrm>
          <a:prstGeom prst="rect">
            <a:avLst/>
          </a:prstGeom>
        </p:spPr>
      </p:pic>
    </p:spTree>
    <p:extLst>
      <p:ext uri="{BB962C8B-B14F-4D97-AF65-F5344CB8AC3E}">
        <p14:creationId xmlns:p14="http://schemas.microsoft.com/office/powerpoint/2010/main" val="337317838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7684" y="438912"/>
            <a:ext cx="23388317" cy="794064"/>
          </a:xfrm>
        </p:spPr>
        <p:txBody>
          <a:bodyPr/>
          <a:lstStyle>
            <a:lvl1pPr>
              <a:defRPr spc="0"/>
            </a:lvl1pPr>
          </a:lstStyle>
          <a:p>
            <a:r>
              <a:rPr lang="en-US"/>
              <a:t>Click to edit Master title style</a:t>
            </a:r>
            <a:endParaRPr lang="en-US" dirty="0"/>
          </a:p>
        </p:txBody>
      </p:sp>
      <p:sp>
        <p:nvSpPr>
          <p:cNvPr id="5" name="Footer Placeholder 4"/>
          <p:cNvSpPr>
            <a:spLocks noGrp="1"/>
          </p:cNvSpPr>
          <p:nvPr>
            <p:ph type="ftr" sz="quarter" idx="14"/>
          </p:nvPr>
        </p:nvSpPr>
        <p:spPr>
          <a:xfrm>
            <a:off x="5046924" y="13064197"/>
            <a:ext cx="492616" cy="517067"/>
          </a:xfrm>
        </p:spPr>
        <p:txBody>
          <a:bodyPr/>
          <a:lstStyle/>
          <a:p>
            <a:endParaRPr lang="en-US" dirty="0"/>
          </a:p>
        </p:txBody>
      </p:sp>
      <p:sp>
        <p:nvSpPr>
          <p:cNvPr id="7" name="Content Placeholder 6"/>
          <p:cNvSpPr>
            <a:spLocks noGrp="1"/>
          </p:cNvSpPr>
          <p:nvPr>
            <p:ph sz="quarter" idx="16"/>
          </p:nvPr>
        </p:nvSpPr>
        <p:spPr>
          <a:xfrm>
            <a:off x="508000" y="2788923"/>
            <a:ext cx="23418800" cy="8938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18365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Questions or call to a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userDrawn="1"/>
        </p:nvSpPr>
        <p:spPr bwMode="black">
          <a:xfrm>
            <a:off x="458343" y="13015362"/>
            <a:ext cx="3808861" cy="517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19456" tIns="109728" rIns="219456" bIns="109728" anchor="b" anchorCtr="0">
            <a:spAutoFit/>
          </a:bodyPr>
          <a:lstStyle/>
          <a:p>
            <a:pPr algn="l"/>
            <a:r>
              <a:rPr lang="en-US" sz="1920" dirty="0">
                <a:solidFill>
                  <a:srgbClr val="000000"/>
                </a:solidFill>
                <a:latin typeface="Arial" pitchFamily="34" charset="0"/>
                <a:cs typeface="Arial" pitchFamily="34" charset="0"/>
              </a:rPr>
              <a:t>© 2015 IBM Corporation</a:t>
            </a:r>
          </a:p>
        </p:txBody>
      </p:sp>
      <p:sp>
        <p:nvSpPr>
          <p:cNvPr id="5" name="Footer Placeholder 4"/>
          <p:cNvSpPr>
            <a:spLocks noGrp="1"/>
          </p:cNvSpPr>
          <p:nvPr>
            <p:ph type="ftr" sz="quarter" idx="11"/>
          </p:nvPr>
        </p:nvSpPr>
        <p:spPr>
          <a:xfrm>
            <a:off x="5046924" y="13064197"/>
            <a:ext cx="492616" cy="517067"/>
          </a:xfrm>
        </p:spPr>
        <p:txBody>
          <a:bodyPr/>
          <a:lstStyle>
            <a:lvl1pPr>
              <a:defRPr>
                <a:solidFill>
                  <a:schemeClr val="tx1"/>
                </a:solidFill>
              </a:defRPr>
            </a:lvl1pPr>
          </a:lstStyle>
          <a:p>
            <a:endParaRPr lang="en-US" dirty="0"/>
          </a:p>
        </p:txBody>
      </p:sp>
      <p:pic>
        <p:nvPicPr>
          <p:cNvPr id="6" name="Picture 3"/>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678" r="2678"/>
          <a:stretch/>
        </p:blipFill>
        <p:spPr bwMode="auto">
          <a:xfrm>
            <a:off x="3" y="2569071"/>
            <a:ext cx="24388229" cy="1874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p:nvPr>
        </p:nvSpPr>
        <p:spPr>
          <a:xfrm>
            <a:off x="507999" y="2890660"/>
            <a:ext cx="23393400" cy="1415773"/>
          </a:xfrm>
        </p:spPr>
        <p:txBody>
          <a:bodyPr anchor="ctr"/>
          <a:lstStyle>
            <a:lvl1pPr marL="0" indent="0">
              <a:lnSpc>
                <a:spcPct val="90000"/>
              </a:lnSpc>
              <a:spcBef>
                <a:spcPts val="0"/>
              </a:spcBef>
              <a:buFontTx/>
              <a:buNone/>
              <a:defRPr sz="9600" b="1" i="0" baseline="0">
                <a:solidFill>
                  <a:schemeClr val="bg2"/>
                </a:solidFill>
                <a:latin typeface="+mj-lt"/>
              </a:defRPr>
            </a:lvl1pPr>
          </a:lstStyle>
          <a:p>
            <a:pPr lvl="0"/>
            <a:r>
              <a:rPr lang="en-US"/>
              <a:t>Click to edit Master text styles</a:t>
            </a:r>
          </a:p>
        </p:txBody>
      </p:sp>
      <p:sp>
        <p:nvSpPr>
          <p:cNvPr id="7" name="Content Placeholder 6"/>
          <p:cNvSpPr>
            <a:spLocks noGrp="1"/>
          </p:cNvSpPr>
          <p:nvPr>
            <p:ph sz="quarter" idx="12"/>
          </p:nvPr>
        </p:nvSpPr>
        <p:spPr>
          <a:xfrm>
            <a:off x="812804" y="4533901"/>
            <a:ext cx="23088600" cy="7193280"/>
          </a:xfrm>
        </p:spPr>
        <p:txBody>
          <a:bodyPr/>
          <a:lstStyle>
            <a:lvl1pPr>
              <a:defRPr sz="4800">
                <a:latin typeface="Arial" pitchFamily="34" charset="0"/>
                <a:cs typeface="Arial" pitchFamily="34" charset="0"/>
              </a:defRPr>
            </a:lvl1pPr>
            <a:lvl2pPr>
              <a:defRPr sz="3840">
                <a:latin typeface="Arial" pitchFamily="34" charset="0"/>
                <a:cs typeface="Arial" pitchFamily="34" charset="0"/>
              </a:defRPr>
            </a:lvl2pPr>
            <a:lvl3pPr>
              <a:defRPr sz="3840">
                <a:latin typeface="Arial" pitchFamily="34" charset="0"/>
                <a:cs typeface="Arial" pitchFamily="34" charset="0"/>
              </a:defRPr>
            </a:lvl3pPr>
            <a:lvl4pPr>
              <a:defRPr sz="3840">
                <a:latin typeface="Arial" pitchFamily="34" charset="0"/>
                <a:cs typeface="Arial" pitchFamily="34" charset="0"/>
              </a:defRPr>
            </a:lvl4pPr>
            <a:lvl5pPr>
              <a:defRPr sz="384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6014853"/>
      </p:ext>
    </p:extLst>
  </p:cSld>
  <p:clrMapOvr>
    <a:overrideClrMapping bg1="lt1" tx1="dk1" bg2="lt2" tx2="dk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4_Title Slide">
    <p:bg>
      <p:bgPr>
        <a:solidFill>
          <a:srgbClr val="1D3649"/>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63757" t="44138" b="14099"/>
          <a:stretch/>
        </p:blipFill>
        <p:spPr>
          <a:xfrm>
            <a:off x="15544802" y="6187599"/>
            <a:ext cx="8832701" cy="5728264"/>
          </a:xfrm>
          <a:prstGeom prst="rect">
            <a:avLst/>
          </a:prstGeom>
        </p:spPr>
      </p:pic>
      <p:sp>
        <p:nvSpPr>
          <p:cNvPr id="2" name="Title 1"/>
          <p:cNvSpPr>
            <a:spLocks noGrp="1"/>
          </p:cNvSpPr>
          <p:nvPr>
            <p:ph type="ctrTitle"/>
          </p:nvPr>
        </p:nvSpPr>
        <p:spPr>
          <a:xfrm>
            <a:off x="1155907" y="3159439"/>
            <a:ext cx="22002885" cy="3006371"/>
          </a:xfrm>
        </p:spPr>
        <p:txBody>
          <a:bodyPr lIns="0" tIns="0" rIns="0" bIns="0" anchor="b" anchorCtr="0">
            <a:noAutofit/>
          </a:bodyPr>
          <a:lstStyle>
            <a:lvl1pPr algn="l">
              <a:lnSpc>
                <a:spcPct val="90000"/>
              </a:lnSpc>
              <a:defRPr sz="10560"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1223283" y="6585948"/>
            <a:ext cx="21937285" cy="756408"/>
          </a:xfrm>
          <a:prstGeom prst="rect">
            <a:avLst/>
          </a:prstGeom>
        </p:spPr>
        <p:txBody>
          <a:bodyPr lIns="0" tIns="0" rIns="0" bIns="0" anchor="t" anchorCtr="0">
            <a:normAutofit/>
          </a:bodyPr>
          <a:lstStyle>
            <a:lvl1pPr marL="0" indent="0" algn="l">
              <a:lnSpc>
                <a:spcPct val="100000"/>
              </a:lnSpc>
              <a:spcBef>
                <a:spcPts val="0"/>
              </a:spcBef>
              <a:buNone/>
              <a:defRPr sz="3600" b="0" cap="all" baseline="0">
                <a:solidFill>
                  <a:schemeClr val="bg1"/>
                </a:solidFill>
                <a:latin typeface="Arial" panose="020B0604020202020204" pitchFamily="34" charset="0"/>
                <a:cs typeface="Arial" panose="020B0604020202020204" pitchFamily="34" charset="0"/>
              </a:defRPr>
            </a:lvl1pPr>
            <a:lvl2pPr marL="822970" indent="0" algn="ctr">
              <a:buNone/>
              <a:defRPr sz="3600"/>
            </a:lvl2pPr>
            <a:lvl3pPr marL="1645941" indent="0" algn="ctr">
              <a:buNone/>
              <a:defRPr sz="3240"/>
            </a:lvl3pPr>
            <a:lvl4pPr marL="2468911" indent="0" algn="ctr">
              <a:buNone/>
              <a:defRPr sz="2880"/>
            </a:lvl4pPr>
            <a:lvl5pPr marL="3291881" indent="0" algn="ctr">
              <a:buNone/>
              <a:defRPr sz="2880"/>
            </a:lvl5pPr>
            <a:lvl6pPr marL="4114851" indent="0" algn="ctr">
              <a:buNone/>
              <a:defRPr sz="2880"/>
            </a:lvl6pPr>
            <a:lvl7pPr marL="4937822" indent="0" algn="ctr">
              <a:buNone/>
              <a:defRPr sz="2880"/>
            </a:lvl7pPr>
            <a:lvl8pPr marL="5760792" indent="0" algn="ctr">
              <a:buNone/>
              <a:defRPr sz="2880"/>
            </a:lvl8pPr>
            <a:lvl9pPr marL="6583762" indent="0" algn="ctr">
              <a:buNone/>
              <a:defRPr sz="2880"/>
            </a:lvl9pPr>
          </a:lstStyle>
          <a:p>
            <a:r>
              <a:rPr lang="en-US" dirty="0"/>
              <a:t>CLICK TO EDIT MASTER SUBTITLE STYLE</a:t>
            </a:r>
          </a:p>
        </p:txBody>
      </p:sp>
      <p:sp>
        <p:nvSpPr>
          <p:cNvPr id="25" name="Text Placeholder 12" title="Click to edit presenter's name, title, and date"/>
          <p:cNvSpPr>
            <a:spLocks noGrp="1"/>
          </p:cNvSpPr>
          <p:nvPr>
            <p:ph type="body" sz="quarter" idx="13" hasCustomPrompt="1"/>
          </p:nvPr>
        </p:nvSpPr>
        <p:spPr>
          <a:xfrm>
            <a:off x="1212187" y="9283604"/>
            <a:ext cx="18946656" cy="627389"/>
          </a:xfrm>
          <a:prstGeom prst="rect">
            <a:avLst/>
          </a:prstGeom>
        </p:spPr>
        <p:txBody>
          <a:bodyPr lIns="0" tIns="0" rIns="0" bIns="0" anchor="b" anchorCtr="0">
            <a:noAutofit/>
          </a:bodyPr>
          <a:lstStyle>
            <a:lvl1pPr marL="0" indent="0">
              <a:lnSpc>
                <a:spcPct val="100000"/>
              </a:lnSpc>
              <a:spcBef>
                <a:spcPts val="0"/>
              </a:spcBef>
              <a:buFontTx/>
              <a:buNone/>
              <a:defRPr sz="3600" b="1" baseline="0">
                <a:solidFill>
                  <a:schemeClr val="bg1"/>
                </a:solidFill>
                <a:latin typeface="Arial" panose="020B0604020202020204" pitchFamily="34" charset="0"/>
                <a:cs typeface="Arial" panose="020B0604020202020204" pitchFamily="34" charset="0"/>
              </a:defRPr>
            </a:lvl1pPr>
            <a:lvl2pPr marL="822970" indent="0">
              <a:buFontTx/>
              <a:buNone/>
              <a:defRPr/>
            </a:lvl2pPr>
            <a:lvl3pPr marL="1645941" indent="0">
              <a:buFontTx/>
              <a:buNone/>
              <a:defRPr/>
            </a:lvl3pPr>
            <a:lvl4pPr marL="2468911" indent="0">
              <a:buFontTx/>
              <a:buNone/>
              <a:defRPr/>
            </a:lvl4pPr>
            <a:lvl5pPr marL="3291881" indent="0">
              <a:buFontTx/>
              <a:buNone/>
              <a:defRPr/>
            </a:lvl5pPr>
          </a:lstStyle>
          <a:p>
            <a:pPr lvl="0"/>
            <a:r>
              <a:rPr lang="en-US" dirty="0"/>
              <a:t>Click to edit presenter’s name</a:t>
            </a:r>
          </a:p>
        </p:txBody>
      </p:sp>
      <p:sp>
        <p:nvSpPr>
          <p:cNvPr id="26" name="Text Placeholder 23"/>
          <p:cNvSpPr>
            <a:spLocks noGrp="1"/>
          </p:cNvSpPr>
          <p:nvPr>
            <p:ph type="body" sz="quarter" idx="14" hasCustomPrompt="1"/>
          </p:nvPr>
        </p:nvSpPr>
        <p:spPr>
          <a:xfrm>
            <a:off x="1212189" y="12223923"/>
            <a:ext cx="7954763" cy="438912"/>
          </a:xfrm>
          <a:prstGeom prst="rect">
            <a:avLst/>
          </a:prstGeom>
        </p:spPr>
        <p:txBody>
          <a:bodyPr wrap="none" lIns="0" tIns="0" rIns="0" bIns="0" anchor="b" anchorCtr="0">
            <a:noAutofit/>
          </a:bodyPr>
          <a:lstStyle>
            <a:lvl1pPr marL="0" indent="0" algn="l">
              <a:lnSpc>
                <a:spcPct val="100000"/>
              </a:lnSpc>
              <a:buFontTx/>
              <a:buNone/>
              <a:defRPr sz="2400" i="0">
                <a:solidFill>
                  <a:schemeClr val="bg1"/>
                </a:solidFill>
              </a:defRPr>
            </a:lvl1pPr>
            <a:lvl2pPr marL="422915" indent="0" algn="r">
              <a:buFontTx/>
              <a:buNone/>
              <a:defRPr sz="3360" i="1"/>
            </a:lvl2pPr>
            <a:lvl3pPr marL="922033" indent="0" algn="r">
              <a:buFontTx/>
              <a:buNone/>
              <a:defRPr sz="3360" i="1"/>
            </a:lvl3pPr>
            <a:lvl4pPr marL="1253509" indent="0" algn="r">
              <a:buFontTx/>
              <a:buNone/>
              <a:defRPr sz="3360" i="1"/>
            </a:lvl4pPr>
            <a:lvl5pPr marL="1672613" indent="0" algn="r">
              <a:buFontTx/>
              <a:buNone/>
              <a:defRPr sz="3360" i="1"/>
            </a:lvl5pPr>
          </a:lstStyle>
          <a:p>
            <a:pPr lvl="0"/>
            <a:r>
              <a:rPr lang="en-US" dirty="0"/>
              <a:t>Click to edit presentation date</a:t>
            </a:r>
          </a:p>
        </p:txBody>
      </p:sp>
      <p:sp>
        <p:nvSpPr>
          <p:cNvPr id="27" name="Text Placeholder 12" title="Click to edit presenter's name, title, and date"/>
          <p:cNvSpPr>
            <a:spLocks noGrp="1"/>
          </p:cNvSpPr>
          <p:nvPr>
            <p:ph type="body" sz="quarter" idx="15" hasCustomPrompt="1"/>
          </p:nvPr>
        </p:nvSpPr>
        <p:spPr>
          <a:xfrm>
            <a:off x="1212187" y="9947495"/>
            <a:ext cx="18946656" cy="535949"/>
          </a:xfrm>
          <a:prstGeom prst="rect">
            <a:avLst/>
          </a:prstGeom>
        </p:spPr>
        <p:txBody>
          <a:bodyPr lIns="0" tIns="0" rIns="0" bIns="0" anchor="t" anchorCtr="0">
            <a:normAutofit/>
          </a:bodyPr>
          <a:lstStyle>
            <a:lvl1pPr marL="0" marR="0" indent="0" algn="l" defTabSz="1645941" rtl="0" eaLnBrk="1" fontAlgn="auto" latinLnBrk="0" hangingPunct="1">
              <a:lnSpc>
                <a:spcPct val="100000"/>
              </a:lnSpc>
              <a:spcBef>
                <a:spcPts val="0"/>
              </a:spcBef>
              <a:spcAft>
                <a:spcPts val="0"/>
              </a:spcAft>
              <a:buClr>
                <a:schemeClr val="tx2"/>
              </a:buClr>
              <a:buSzTx/>
              <a:buFontTx/>
              <a:buNone/>
              <a:tabLst/>
              <a:defRPr sz="2640" b="0" baseline="0">
                <a:solidFill>
                  <a:schemeClr val="bg1"/>
                </a:solidFill>
                <a:latin typeface="Arial" panose="020B0604020202020204" pitchFamily="34" charset="0"/>
                <a:cs typeface="Arial" panose="020B0604020202020204" pitchFamily="34" charset="0"/>
              </a:defRPr>
            </a:lvl1pPr>
            <a:lvl2pPr marL="822970" indent="0">
              <a:buFontTx/>
              <a:buNone/>
              <a:defRPr/>
            </a:lvl2pPr>
            <a:lvl3pPr marL="1645941" indent="0">
              <a:buFontTx/>
              <a:buNone/>
              <a:defRPr/>
            </a:lvl3pPr>
            <a:lvl4pPr marL="2468911" indent="0">
              <a:buFontTx/>
              <a:buNone/>
              <a:defRPr/>
            </a:lvl4pPr>
            <a:lvl5pPr marL="3291881" indent="0">
              <a:buFontTx/>
              <a:buNone/>
              <a:defRPr/>
            </a:lvl5pPr>
          </a:lstStyle>
          <a:p>
            <a:pPr lvl="0"/>
            <a:r>
              <a:rPr lang="en-US" dirty="0"/>
              <a:t>Click to edit presenter’s title and division</a:t>
            </a:r>
          </a:p>
        </p:txBody>
      </p:sp>
      <p:sp>
        <p:nvSpPr>
          <p:cNvPr id="5" name="Footer Placeholder 4"/>
          <p:cNvSpPr>
            <a:spLocks noGrp="1"/>
          </p:cNvSpPr>
          <p:nvPr>
            <p:ph type="ftr" sz="quarter" idx="11"/>
          </p:nvPr>
        </p:nvSpPr>
        <p:spPr>
          <a:xfrm>
            <a:off x="16517959" y="12223923"/>
            <a:ext cx="3033992" cy="438912"/>
          </a:xfrm>
          <a:prstGeom prst="rect">
            <a:avLst/>
          </a:prstGeom>
          <a:noFill/>
        </p:spPr>
        <p:txBody>
          <a:bodyPr vert="horz" wrap="none" lIns="0" tIns="0" rIns="0" bIns="0" rtlCol="0" anchor="b" anchorCtr="0">
            <a:noAutofit/>
          </a:bodyPr>
          <a:lstStyle>
            <a:lvl1pPr algn="r">
              <a:lnSpc>
                <a:spcPct val="100000"/>
              </a:lnSpc>
              <a:defRPr lang="en-US" smtClean="0">
                <a:solidFill>
                  <a:schemeClr val="bg1"/>
                </a:solidFill>
              </a:defRPr>
            </a:lvl1pPr>
          </a:lstStyle>
          <a:p>
            <a:pPr defTabSz="1645941">
              <a:spcBef>
                <a:spcPts val="1440"/>
              </a:spcBef>
              <a:buClr>
                <a:schemeClr val="tx2"/>
              </a:buClr>
            </a:pPr>
            <a:endParaRPr lang="en-IL" dirty="0"/>
          </a:p>
        </p:txBody>
      </p:sp>
      <p:pic>
        <p:nvPicPr>
          <p:cNvPr id="10" name="Picture 9"/>
          <p:cNvPicPr>
            <a:picLocks noChangeAspect="1"/>
          </p:cNvPicPr>
          <p:nvPr/>
        </p:nvPicPr>
        <p:blipFill rotWithShape="1">
          <a:blip r:embed="rId3"/>
          <a:srcRect l="14569" t="26753" r="14569" b="26753"/>
          <a:stretch/>
        </p:blipFill>
        <p:spPr>
          <a:xfrm>
            <a:off x="1219204" y="1022392"/>
            <a:ext cx="3382232" cy="892464"/>
          </a:xfrm>
          <a:prstGeom prst="rect">
            <a:avLst/>
          </a:prstGeom>
        </p:spPr>
      </p:pic>
      <p:cxnSp>
        <p:nvCxnSpPr>
          <p:cNvPr id="17" name="Straight Connector 16"/>
          <p:cNvCxnSpPr/>
          <p:nvPr userDrawn="1"/>
        </p:nvCxnSpPr>
        <p:spPr>
          <a:xfrm>
            <a:off x="1212187" y="8902237"/>
            <a:ext cx="2023872" cy="0"/>
          </a:xfrm>
          <a:prstGeom prst="line">
            <a:avLst/>
          </a:prstGeom>
          <a:ln w="101600">
            <a:solidFill>
              <a:srgbClr val="FF5003"/>
            </a:solidFill>
            <a:tailEnd type="non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rotWithShape="1">
          <a:blip r:embed="rId4"/>
          <a:srcRect l="-14222" t="-34103" r="-8052" b="-9221"/>
          <a:stretch/>
        </p:blipFill>
        <p:spPr>
          <a:xfrm>
            <a:off x="21062733" y="11729544"/>
            <a:ext cx="2410880" cy="955397"/>
          </a:xfrm>
          <a:prstGeom prst="rect">
            <a:avLst/>
          </a:prstGeom>
          <a:noFill/>
        </p:spPr>
      </p:pic>
    </p:spTree>
    <p:extLst>
      <p:ext uri="{BB962C8B-B14F-4D97-AF65-F5344CB8AC3E}">
        <p14:creationId xmlns:p14="http://schemas.microsoft.com/office/powerpoint/2010/main" val="573678456"/>
      </p:ext>
    </p:extLst>
  </p:cSld>
  <p:clrMapOvr>
    <a:masterClrMapping/>
  </p:clrMapOvr>
  <p:extLst>
    <p:ext uri="{DCECCB84-F9BA-43D5-87BE-67443E8EF086}">
      <p15:sldGuideLst xmlns:p15="http://schemas.microsoft.com/office/powerpoint/2012/main">
        <p15:guide id="1" orient="horz" pos="3432">
          <p15:clr>
            <a:srgbClr val="FBAE40"/>
          </p15:clr>
        </p15:guide>
        <p15:guide id="2" pos="28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nSpc>
                <a:spcPts val="7200"/>
              </a:lnSpc>
              <a:defRPr sz="6720"/>
            </a:lvl1pPr>
          </a:lstStyle>
          <a:p>
            <a:r>
              <a:rPr lang="en-US"/>
              <a:t>Click to edit Master title style</a:t>
            </a:r>
            <a:endParaRPr lang="en-US" dirty="0"/>
          </a:p>
        </p:txBody>
      </p:sp>
      <p:sp>
        <p:nvSpPr>
          <p:cNvPr id="4" name="Footer Placeholder 3"/>
          <p:cNvSpPr>
            <a:spLocks noGrp="1"/>
          </p:cNvSpPr>
          <p:nvPr>
            <p:ph type="ftr" sz="quarter" idx="10"/>
          </p:nvPr>
        </p:nvSpPr>
        <p:spPr/>
        <p:txBody>
          <a:bodyPr/>
          <a:lstStyle/>
          <a:p>
            <a:pPr defTabSz="1645941">
              <a:lnSpc>
                <a:spcPct val="90000"/>
              </a:lnSpc>
              <a:spcBef>
                <a:spcPts val="1440"/>
              </a:spcBef>
              <a:buClr>
                <a:srgbClr val="1D3649"/>
              </a:buClr>
            </a:pPr>
            <a:endParaRPr lang="en-IL" dirty="0">
              <a:solidFill>
                <a:srgbClr val="FFFFFF"/>
              </a:solidFill>
            </a:endParaRPr>
          </a:p>
        </p:txBody>
      </p:sp>
    </p:spTree>
    <p:extLst>
      <p:ext uri="{BB962C8B-B14F-4D97-AF65-F5344CB8AC3E}">
        <p14:creationId xmlns:p14="http://schemas.microsoft.com/office/powerpoint/2010/main" val="410347518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Intr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4"/>
          <p:cNvSpPr>
            <a:spLocks noGrp="1"/>
          </p:cNvSpPr>
          <p:nvPr>
            <p:ph type="body" sz="quarter" idx="11" hasCustomPrompt="1"/>
          </p:nvPr>
        </p:nvSpPr>
        <p:spPr>
          <a:xfrm>
            <a:off x="1219200" y="1611240"/>
            <a:ext cx="21945600" cy="949083"/>
          </a:xfrm>
        </p:spPr>
        <p:txBody>
          <a:bodyPr>
            <a:normAutofit/>
          </a:bodyPr>
          <a:lstStyle>
            <a:lvl1pPr marL="0" indent="0">
              <a:buFontTx/>
              <a:buNone/>
              <a:defRPr sz="3840">
                <a:solidFill>
                  <a:schemeClr val="accent4"/>
                </a:solidFill>
              </a:defRPr>
            </a:lvl1pPr>
            <a:lvl2pPr marL="510548" indent="0">
              <a:buFontTx/>
              <a:buNone/>
              <a:defRPr sz="3840">
                <a:solidFill>
                  <a:schemeClr val="accent4"/>
                </a:solidFill>
              </a:defRPr>
            </a:lvl2pPr>
            <a:lvl3pPr marL="1078243" indent="0">
              <a:buFontTx/>
              <a:buNone/>
              <a:defRPr sz="3840">
                <a:solidFill>
                  <a:schemeClr val="accent4"/>
                </a:solidFill>
              </a:defRPr>
            </a:lvl3pPr>
            <a:lvl4pPr marL="1455440" indent="0">
              <a:buFontTx/>
              <a:buNone/>
              <a:defRPr sz="3840">
                <a:solidFill>
                  <a:schemeClr val="accent4"/>
                </a:solidFill>
              </a:defRPr>
            </a:lvl4pPr>
            <a:lvl5pPr marL="1992654" indent="0">
              <a:buFontTx/>
              <a:buNone/>
              <a:defRPr sz="3840">
                <a:solidFill>
                  <a:schemeClr val="accent4"/>
                </a:solidFill>
              </a:defRPr>
            </a:lvl5pPr>
          </a:lstStyle>
          <a:p>
            <a:pPr lvl="0"/>
            <a:r>
              <a:rPr lang="en-US" dirty="0"/>
              <a:t>Edit Master intro text</a:t>
            </a:r>
          </a:p>
        </p:txBody>
      </p:sp>
      <p:sp>
        <p:nvSpPr>
          <p:cNvPr id="4" name="Footer Placeholder 3"/>
          <p:cNvSpPr>
            <a:spLocks noGrp="1"/>
          </p:cNvSpPr>
          <p:nvPr>
            <p:ph type="ftr" sz="quarter" idx="12"/>
          </p:nvPr>
        </p:nvSpPr>
        <p:spPr/>
        <p:txBody>
          <a:bodyPr/>
          <a:lstStyle/>
          <a:p>
            <a:pPr defTabSz="1645941">
              <a:lnSpc>
                <a:spcPct val="90000"/>
              </a:lnSpc>
              <a:spcBef>
                <a:spcPts val="1440"/>
              </a:spcBef>
              <a:buClr>
                <a:srgbClr val="1D3649"/>
              </a:buClr>
            </a:pPr>
            <a:endParaRPr lang="en-IL">
              <a:solidFill>
                <a:srgbClr val="FFFFFF"/>
              </a:solidFill>
            </a:endParaRPr>
          </a:p>
        </p:txBody>
      </p:sp>
    </p:spTree>
    <p:extLst>
      <p:ext uri="{BB962C8B-B14F-4D97-AF65-F5344CB8AC3E}">
        <p14:creationId xmlns:p14="http://schemas.microsoft.com/office/powerpoint/2010/main" val="215240872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Mandatory Closing Slide">
    <p:bg>
      <p:bgPr>
        <a:solidFill>
          <a:srgbClr val="1D3649"/>
        </a:solidFill>
        <a:effectLst/>
      </p:bgPr>
    </p:bg>
    <p:spTree>
      <p:nvGrpSpPr>
        <p:cNvPr id="1" name=""/>
        <p:cNvGrpSpPr/>
        <p:nvPr/>
      </p:nvGrpSpPr>
      <p:grpSpPr>
        <a:xfrm>
          <a:off x="0" y="0"/>
          <a:ext cx="0" cy="0"/>
          <a:chOff x="0" y="0"/>
          <a:chExt cx="0" cy="0"/>
        </a:xfrm>
      </p:grpSpPr>
      <p:cxnSp>
        <p:nvCxnSpPr>
          <p:cNvPr id="22" name="Straight Connector 21"/>
          <p:cNvCxnSpPr/>
          <p:nvPr userDrawn="1"/>
        </p:nvCxnSpPr>
        <p:spPr>
          <a:xfrm>
            <a:off x="1211384" y="3225624"/>
            <a:ext cx="2023872" cy="0"/>
          </a:xfrm>
          <a:prstGeom prst="line">
            <a:avLst/>
          </a:prstGeom>
          <a:ln w="101600">
            <a:solidFill>
              <a:srgbClr val="FF500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TextBox 48">
            <a:hlinkClick r:id="rId2"/>
          </p:cNvPr>
          <p:cNvSpPr txBox="1"/>
          <p:nvPr userDrawn="1"/>
        </p:nvSpPr>
        <p:spPr>
          <a:xfrm>
            <a:off x="2038872" y="6280007"/>
            <a:ext cx="4601707" cy="332399"/>
          </a:xfrm>
          <a:prstGeom prst="rect">
            <a:avLst/>
          </a:prstGeom>
          <a:noFill/>
        </p:spPr>
        <p:txBody>
          <a:bodyPr wrap="square" lIns="0" tIns="0" rIns="0" bIns="0" rtlCol="0">
            <a:spAutoFit/>
          </a:bodyPr>
          <a:lstStyle/>
          <a:p>
            <a:r>
              <a:rPr lang="en-US" sz="2160" dirty="0">
                <a:solidFill>
                  <a:schemeClr val="bg1"/>
                </a:solidFill>
              </a:rPr>
              <a:t>ibm.com/security</a:t>
            </a:r>
          </a:p>
        </p:txBody>
      </p:sp>
      <p:pic>
        <p:nvPicPr>
          <p:cNvPr id="50" name="Picture 4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20536" y="6238751"/>
            <a:ext cx="448731" cy="408120"/>
          </a:xfrm>
          <a:prstGeom prst="rect">
            <a:avLst/>
          </a:prstGeom>
        </p:spPr>
      </p:pic>
      <p:sp>
        <p:nvSpPr>
          <p:cNvPr id="47" name="TextBox 46">
            <a:hlinkClick r:id="rId4"/>
          </p:cNvPr>
          <p:cNvSpPr txBox="1"/>
          <p:nvPr/>
        </p:nvSpPr>
        <p:spPr>
          <a:xfrm>
            <a:off x="2038872" y="6833999"/>
            <a:ext cx="4601707" cy="332399"/>
          </a:xfrm>
          <a:prstGeom prst="rect">
            <a:avLst/>
          </a:prstGeom>
          <a:noFill/>
        </p:spPr>
        <p:txBody>
          <a:bodyPr wrap="square" lIns="0" tIns="0" rIns="0" bIns="0" rtlCol="0">
            <a:spAutoFit/>
          </a:bodyPr>
          <a:lstStyle/>
          <a:p>
            <a:r>
              <a:rPr lang="en-US" sz="2160" dirty="0">
                <a:solidFill>
                  <a:schemeClr val="bg1"/>
                </a:solidFill>
              </a:rPr>
              <a:t>securityintelligence.com</a:t>
            </a:r>
          </a:p>
        </p:txBody>
      </p:sp>
      <p:pic>
        <p:nvPicPr>
          <p:cNvPr id="48" name="Picture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0536" y="6792743"/>
            <a:ext cx="448731" cy="408120"/>
          </a:xfrm>
          <a:prstGeom prst="rect">
            <a:avLst/>
          </a:prstGeom>
        </p:spPr>
      </p:pic>
      <p:sp>
        <p:nvSpPr>
          <p:cNvPr id="45" name="TextBox 44">
            <a:hlinkClick r:id="rId5"/>
          </p:cNvPr>
          <p:cNvSpPr txBox="1"/>
          <p:nvPr/>
        </p:nvSpPr>
        <p:spPr>
          <a:xfrm>
            <a:off x="2038872" y="7360620"/>
            <a:ext cx="4622832" cy="332399"/>
          </a:xfrm>
          <a:prstGeom prst="rect">
            <a:avLst/>
          </a:prstGeom>
          <a:noFill/>
        </p:spPr>
        <p:txBody>
          <a:bodyPr wrap="square" lIns="0" tIns="0" rIns="0" bIns="0" rtlCol="0">
            <a:spAutoFit/>
          </a:bodyPr>
          <a:lstStyle/>
          <a:p>
            <a:r>
              <a:rPr lang="en-US" sz="2160" dirty="0">
                <a:solidFill>
                  <a:schemeClr val="bg1"/>
                </a:solidFill>
              </a:rPr>
              <a:t>xforce.ibmcloud.com</a:t>
            </a:r>
          </a:p>
        </p:txBody>
      </p:sp>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0536" y="7319361"/>
            <a:ext cx="448731" cy="408120"/>
          </a:xfrm>
          <a:prstGeom prst="rect">
            <a:avLst/>
          </a:prstGeom>
        </p:spPr>
      </p:pic>
      <p:pic>
        <p:nvPicPr>
          <p:cNvPr id="43" name="Picture 42"/>
          <p:cNvPicPr>
            <a:picLocks noChangeAspect="1"/>
          </p:cNvPicPr>
          <p:nvPr userDrawn="1"/>
        </p:nvPicPr>
        <p:blipFill>
          <a:blip r:embed="rId6"/>
          <a:stretch>
            <a:fillRect/>
          </a:stretch>
        </p:blipFill>
        <p:spPr>
          <a:xfrm>
            <a:off x="1178495" y="7838067"/>
            <a:ext cx="608136" cy="547781"/>
          </a:xfrm>
          <a:prstGeom prst="rect">
            <a:avLst/>
          </a:prstGeom>
        </p:spPr>
      </p:pic>
      <p:sp>
        <p:nvSpPr>
          <p:cNvPr id="44" name="TextBox 43"/>
          <p:cNvSpPr txBox="1"/>
          <p:nvPr userDrawn="1"/>
        </p:nvSpPr>
        <p:spPr>
          <a:xfrm>
            <a:off x="2038876" y="7930687"/>
            <a:ext cx="5039037" cy="332399"/>
          </a:xfrm>
          <a:prstGeom prst="rect">
            <a:avLst/>
          </a:prstGeom>
          <a:noFill/>
        </p:spPr>
        <p:txBody>
          <a:bodyPr wrap="square" lIns="0" tIns="0" rIns="0" bIns="0" rtlCol="0">
            <a:spAutoFit/>
          </a:bodyPr>
          <a:lstStyle/>
          <a:p>
            <a:r>
              <a:rPr lang="en-US" sz="2160" dirty="0">
                <a:solidFill>
                  <a:schemeClr val="bg1"/>
                </a:solidFill>
              </a:rPr>
              <a:t>@ibmsecurity</a:t>
            </a:r>
          </a:p>
        </p:txBody>
      </p:sp>
      <p:pic>
        <p:nvPicPr>
          <p:cNvPr id="41" name="Picture 40"/>
          <p:cNvPicPr>
            <a:picLocks noChangeAspect="1"/>
          </p:cNvPicPr>
          <p:nvPr userDrawn="1"/>
        </p:nvPicPr>
        <p:blipFill>
          <a:blip r:embed="rId7"/>
          <a:stretch>
            <a:fillRect/>
          </a:stretch>
        </p:blipFill>
        <p:spPr>
          <a:xfrm>
            <a:off x="1199516" y="8397840"/>
            <a:ext cx="572979" cy="516117"/>
          </a:xfrm>
          <a:prstGeom prst="rect">
            <a:avLst/>
          </a:prstGeom>
        </p:spPr>
      </p:pic>
      <p:sp>
        <p:nvSpPr>
          <p:cNvPr id="42" name="TextBox 41">
            <a:hlinkClick r:id="rId8"/>
          </p:cNvPr>
          <p:cNvSpPr txBox="1"/>
          <p:nvPr userDrawn="1"/>
        </p:nvSpPr>
        <p:spPr>
          <a:xfrm>
            <a:off x="2038872" y="8484683"/>
            <a:ext cx="7503851" cy="332399"/>
          </a:xfrm>
          <a:prstGeom prst="rect">
            <a:avLst/>
          </a:prstGeom>
          <a:noFill/>
        </p:spPr>
        <p:txBody>
          <a:bodyPr wrap="square" lIns="0" tIns="0" rIns="0" bIns="0" rtlCol="0">
            <a:spAutoFit/>
          </a:bodyPr>
          <a:lstStyle/>
          <a:p>
            <a:r>
              <a:rPr lang="en-US" sz="2160" dirty="0">
                <a:solidFill>
                  <a:schemeClr val="bg1"/>
                </a:solidFill>
              </a:rPr>
              <a:t>https://</a:t>
            </a:r>
            <a:r>
              <a:rPr lang="en-US" sz="2160" dirty="0" err="1">
                <a:solidFill>
                  <a:schemeClr val="bg1"/>
                </a:solidFill>
              </a:rPr>
              <a:t>www.youtube.com</a:t>
            </a:r>
            <a:r>
              <a:rPr lang="en-US" sz="2160" dirty="0">
                <a:solidFill>
                  <a:schemeClr val="bg1"/>
                </a:solidFill>
              </a:rPr>
              <a:t>/user/</a:t>
            </a:r>
            <a:r>
              <a:rPr lang="en-US" sz="2160" dirty="0" err="1">
                <a:solidFill>
                  <a:schemeClr val="bg1"/>
                </a:solidFill>
              </a:rPr>
              <a:t>IBMSecuritySolutions</a:t>
            </a:r>
            <a:endParaRPr lang="en-US" sz="2160" dirty="0">
              <a:solidFill>
                <a:schemeClr val="bg1"/>
              </a:solidFill>
            </a:endParaRPr>
          </a:p>
        </p:txBody>
      </p:sp>
      <p:pic>
        <p:nvPicPr>
          <p:cNvPr id="107" name="Picture 106"/>
          <p:cNvPicPr>
            <a:picLocks noChangeAspect="1"/>
          </p:cNvPicPr>
          <p:nvPr userDrawn="1"/>
        </p:nvPicPr>
        <p:blipFill>
          <a:blip r:embed="rId9"/>
          <a:stretch>
            <a:fillRect/>
          </a:stretch>
        </p:blipFill>
        <p:spPr>
          <a:xfrm>
            <a:off x="21343124" y="11956852"/>
            <a:ext cx="1971736" cy="666589"/>
          </a:xfrm>
          <a:prstGeom prst="rect">
            <a:avLst/>
          </a:prstGeom>
        </p:spPr>
      </p:pic>
      <p:pic>
        <p:nvPicPr>
          <p:cNvPr id="108" name="Picture 107"/>
          <p:cNvPicPr>
            <a:picLocks noChangeAspect="1"/>
          </p:cNvPicPr>
          <p:nvPr userDrawn="1"/>
        </p:nvPicPr>
        <p:blipFill rotWithShape="1">
          <a:blip r:embed="rId10"/>
          <a:srcRect l="14569" t="26753" r="14569" b="26753"/>
          <a:stretch/>
        </p:blipFill>
        <p:spPr>
          <a:xfrm>
            <a:off x="1219204" y="1022392"/>
            <a:ext cx="3382232" cy="892464"/>
          </a:xfrm>
          <a:prstGeom prst="rect">
            <a:avLst/>
          </a:prstGeom>
        </p:spPr>
      </p:pic>
      <p:sp>
        <p:nvSpPr>
          <p:cNvPr id="25" name="Rectangle 11"/>
          <p:cNvSpPr>
            <a:spLocks noChangeArrowheads="1"/>
          </p:cNvSpPr>
          <p:nvPr userDrawn="1"/>
        </p:nvSpPr>
        <p:spPr bwMode="auto">
          <a:xfrm>
            <a:off x="1178491" y="10149839"/>
            <a:ext cx="18023909" cy="2488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chor="b" anchorCtr="0">
            <a:noAutofit/>
          </a:bodyPr>
          <a:lstStyle/>
          <a:p>
            <a:pPr marL="0" indent="0" eaLnBrk="0" hangingPunct="0">
              <a:spcBef>
                <a:spcPts val="720"/>
              </a:spcBef>
              <a:buClr>
                <a:srgbClr val="000000"/>
              </a:buClr>
            </a:pPr>
            <a:r>
              <a:rPr lang="en-US" sz="1440" b="0" baseline="0" dirty="0">
                <a:solidFill>
                  <a:schemeClr val="bg1"/>
                </a:solidFil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marL="0" indent="0" eaLnBrk="0" hangingPunct="0">
              <a:spcBef>
                <a:spcPts val="720"/>
              </a:spcBef>
              <a:buClr>
                <a:srgbClr val="000000"/>
              </a:buClr>
            </a:pPr>
            <a:r>
              <a:rPr lang="en-US" sz="1440" b="0" baseline="0" dirty="0">
                <a:solidFill>
                  <a:schemeClr val="bg1"/>
                </a:solidFill>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endParaRPr lang="en-US" sz="1440" b="0" baseline="0" dirty="0">
              <a:solidFill>
                <a:schemeClr val="bg1"/>
              </a:solidFill>
              <a:cs typeface="Arial" charset="0"/>
            </a:endParaRPr>
          </a:p>
        </p:txBody>
      </p:sp>
      <p:sp>
        <p:nvSpPr>
          <p:cNvPr id="318" name="TextBox 317"/>
          <p:cNvSpPr txBox="1"/>
          <p:nvPr userDrawn="1"/>
        </p:nvSpPr>
        <p:spPr>
          <a:xfrm>
            <a:off x="1219200" y="5710073"/>
            <a:ext cx="4601707" cy="332399"/>
          </a:xfrm>
          <a:prstGeom prst="rect">
            <a:avLst/>
          </a:prstGeom>
          <a:noFill/>
        </p:spPr>
        <p:txBody>
          <a:bodyPr wrap="square" lIns="0" tIns="0" rIns="0" bIns="0" rtlCol="0">
            <a:spAutoFit/>
          </a:bodyPr>
          <a:lstStyle/>
          <a:p>
            <a:r>
              <a:rPr lang="en-US" sz="2160" dirty="0">
                <a:solidFill>
                  <a:schemeClr val="bg1"/>
                </a:solidFill>
              </a:rPr>
              <a:t>FOLLOW US ON:</a:t>
            </a:r>
          </a:p>
        </p:txBody>
      </p:sp>
      <p:sp>
        <p:nvSpPr>
          <p:cNvPr id="322" name="TextBox 321"/>
          <p:cNvSpPr txBox="1"/>
          <p:nvPr userDrawn="1"/>
        </p:nvSpPr>
        <p:spPr>
          <a:xfrm>
            <a:off x="911400" y="3291840"/>
            <a:ext cx="22290123" cy="1938992"/>
          </a:xfrm>
          <a:prstGeom prst="rect">
            <a:avLst/>
          </a:prstGeom>
          <a:noFill/>
        </p:spPr>
        <p:txBody>
          <a:bodyPr wrap="square" rtlCol="0">
            <a:spAutoFit/>
          </a:bodyPr>
          <a:lstStyle/>
          <a:p>
            <a:pPr algn="l"/>
            <a:r>
              <a:rPr lang="en-US" sz="12000" b="1" dirty="0">
                <a:solidFill>
                  <a:schemeClr val="bg1"/>
                </a:solidFill>
              </a:rPr>
              <a:t>THANK YOU</a:t>
            </a:r>
          </a:p>
        </p:txBody>
      </p:sp>
      <p:pic>
        <p:nvPicPr>
          <p:cNvPr id="18" name="Picture 17"/>
          <p:cNvPicPr>
            <a:picLocks noChangeAspect="1"/>
          </p:cNvPicPr>
          <p:nvPr userDrawn="1"/>
        </p:nvPicPr>
        <p:blipFill rotWithShape="1">
          <a:blip r:embed="rId11"/>
          <a:srcRect l="63757" t="44138" b="14099"/>
          <a:stretch/>
        </p:blipFill>
        <p:spPr>
          <a:xfrm>
            <a:off x="15544802" y="1733257"/>
            <a:ext cx="8832701" cy="5728264"/>
          </a:xfrm>
          <a:prstGeom prst="rect">
            <a:avLst/>
          </a:prstGeom>
        </p:spPr>
      </p:pic>
    </p:spTree>
    <p:extLst>
      <p:ext uri="{BB962C8B-B14F-4D97-AF65-F5344CB8AC3E}">
        <p14:creationId xmlns:p14="http://schemas.microsoft.com/office/powerpoint/2010/main" val="3203007961"/>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609600" y="12874752"/>
            <a:ext cx="17068800" cy="365760"/>
          </a:xfrm>
        </p:spPr>
        <p:txBody>
          <a:bodyPr/>
          <a:lstStyle>
            <a:lvl1pPr>
              <a:defRPr>
                <a:solidFill>
                  <a:schemeClr val="bg2"/>
                </a:solidFill>
              </a:defRPr>
            </a:lvl1pPr>
          </a:lstStyle>
          <a:p>
            <a:r>
              <a:rPr lang="en-US"/>
              <a:t>IBM Cloud/November 2018 / © 2018 IBM Corporation</a:t>
            </a:r>
          </a:p>
        </p:txBody>
      </p:sp>
      <p:sp>
        <p:nvSpPr>
          <p:cNvPr id="4" name="Title 3"/>
          <p:cNvSpPr>
            <a:spLocks noGrp="1"/>
          </p:cNvSpPr>
          <p:nvPr>
            <p:ph type="title"/>
          </p:nvPr>
        </p:nvSpPr>
        <p:spPr>
          <a:xfrm>
            <a:off x="609605" y="543419"/>
            <a:ext cx="10972802" cy="11944918"/>
          </a:xfrm>
        </p:spPr>
        <p:txBody>
          <a:bodyPr/>
          <a:lstStyle>
            <a:lvl1pPr>
              <a:lnSpc>
                <a:spcPct val="90000"/>
              </a:lnSpc>
              <a:defRPr sz="6394" b="0">
                <a:solidFill>
                  <a:schemeClr val="bg2"/>
                </a:solidFill>
              </a:defRPr>
            </a:lvl1pPr>
          </a:lstStyle>
          <a:p>
            <a:r>
              <a:rPr lang="en-US" dirty="0"/>
              <a:t>Click to edit Master title style</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383500" y="643470"/>
            <a:ext cx="1390904" cy="563880"/>
          </a:xfrm>
          <a:prstGeom prst="rect">
            <a:avLst/>
          </a:prstGeom>
        </p:spPr>
      </p:pic>
      <p:pic>
        <p:nvPicPr>
          <p:cNvPr id="9" name="BCK_PEG_[0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26128" y="4324337"/>
            <a:ext cx="5731744" cy="5067338"/>
          </a:xfrm>
          <a:prstGeom prst="rect">
            <a:avLst/>
          </a:prstGeom>
          <a:ln w="12700">
            <a:miter lim="400000"/>
          </a:ln>
        </p:spPr>
      </p:pic>
    </p:spTree>
    <p:extLst>
      <p:ext uri="{BB962C8B-B14F-4D97-AF65-F5344CB8AC3E}">
        <p14:creationId xmlns:p14="http://schemas.microsoft.com/office/powerpoint/2010/main" val="2302660875"/>
      </p:ext>
    </p:extLst>
  </p:cSld>
  <p:clrMapOvr>
    <a:masterClrMapping/>
  </p:clrMapOvr>
  <p:hf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solidFill>
                  <a:srgbClr val="000000"/>
                </a:solidFill>
              </a:rPr>
              <a:t>Think 2018 / DOC ID / Month XX, 2018 / © 2018 IBM Corporation</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609600" y="536451"/>
            <a:ext cx="10972800" cy="11983338"/>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339108483"/>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1"/>
            <a:ext cx="12192000" cy="13716000"/>
          </a:xfrm>
        </p:spPr>
        <p:txBody>
          <a:bodyPr lIns="91440" tIns="91440" rIns="91440" bIns="91440"/>
          <a:lstStyle/>
          <a:p>
            <a:r>
              <a:rPr lang="en-US"/>
              <a:t>Click icon to add picture</a:t>
            </a:r>
          </a:p>
        </p:txBody>
      </p:sp>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88858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281936"/>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609600" y="2997200"/>
            <a:ext cx="10972800" cy="9558528"/>
          </a:xfrm>
        </p:spPr>
        <p:txBody>
          <a:bodyPr/>
          <a:lstStyle>
            <a:lvl1pPr marL="0" indent="0">
              <a:spcBef>
                <a:spcPts val="0"/>
              </a:spcBef>
              <a:tabLst>
                <a:tab pos="10496100" algn="dec"/>
              </a:tabLst>
              <a:defRPr/>
            </a:lvl1pPr>
            <a:lvl2pPr marL="460950" indent="-460950">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7920" rtl="0" eaLnBrk="1" fontAlgn="auto" latinLnBrk="0" hangingPunct="1">
              <a:lnSpc>
                <a:spcPct val="100000"/>
              </a:lnSpc>
              <a:spcBef>
                <a:spcPts val="0"/>
              </a:spcBef>
              <a:spcAft>
                <a:spcPts val="0"/>
              </a:spcAft>
              <a:buClrTx/>
              <a:buSzTx/>
              <a:buFont typeface="Arial"/>
              <a:buNone/>
              <a:tabLst>
                <a:tab pos="10717698" algn="r"/>
              </a:tabLst>
              <a:defRPr/>
            </a:pPr>
            <a:r>
              <a:rPr lang="en-US" dirty="0"/>
              <a:t>Edit Master text styles</a:t>
            </a:r>
          </a:p>
          <a:p>
            <a:pPr marL="0" marR="0" lvl="1" indent="0" algn="l" defTabSz="1217920" rtl="0" eaLnBrk="1" fontAlgn="auto" latinLnBrk="0" hangingPunct="1">
              <a:lnSpc>
                <a:spcPct val="100000"/>
              </a:lnSpc>
              <a:spcBef>
                <a:spcPts val="0"/>
              </a:spcBef>
              <a:spcAft>
                <a:spcPts val="0"/>
              </a:spcAft>
              <a:buClrTx/>
              <a:buSzTx/>
              <a:buFont typeface="Arial"/>
              <a:buNone/>
              <a:tabLst>
                <a:tab pos="10717698" algn="r"/>
              </a:tabLst>
              <a:defRPr/>
            </a:pPr>
            <a:r>
              <a:rPr lang="en-US" dirty="0"/>
              <a:t>Second level</a:t>
            </a:r>
          </a:p>
          <a:p>
            <a:pPr marL="0" marR="0" lvl="2" indent="0" algn="l" defTabSz="1217920" rtl="0" eaLnBrk="1" fontAlgn="auto" latinLnBrk="0" hangingPunct="1">
              <a:lnSpc>
                <a:spcPct val="100000"/>
              </a:lnSpc>
              <a:spcBef>
                <a:spcPts val="0"/>
              </a:spcBef>
              <a:spcAft>
                <a:spcPts val="0"/>
              </a:spcAft>
              <a:buClrTx/>
              <a:buSzTx/>
              <a:buFont typeface="Arial"/>
              <a:buNone/>
              <a:tabLst>
                <a:tab pos="10717698" algn="r"/>
              </a:tabLst>
              <a:defRPr/>
            </a:pPr>
            <a:r>
              <a:rPr lang="en-US" dirty="0"/>
              <a:t>Third level</a:t>
            </a:r>
          </a:p>
          <a:p>
            <a:pPr marL="0" marR="0" lvl="3" indent="0" algn="l" defTabSz="1217920" rtl="0" eaLnBrk="1" fontAlgn="auto" latinLnBrk="0" hangingPunct="1">
              <a:lnSpc>
                <a:spcPct val="100000"/>
              </a:lnSpc>
              <a:spcBef>
                <a:spcPts val="0"/>
              </a:spcBef>
              <a:spcAft>
                <a:spcPts val="0"/>
              </a:spcAft>
              <a:buClrTx/>
              <a:buSzTx/>
              <a:buFont typeface="Arial"/>
              <a:buNone/>
              <a:tabLst>
                <a:tab pos="10717698" algn="r"/>
              </a:tabLst>
              <a:defRPr/>
            </a:pPr>
            <a:r>
              <a:rPr lang="en-US" dirty="0"/>
              <a:t>Fourth level</a:t>
            </a:r>
          </a:p>
          <a:p>
            <a:pPr marL="0" marR="0" lvl="4" indent="0" algn="l" defTabSz="1217920" rtl="0" eaLnBrk="1" fontAlgn="auto" latinLnBrk="0" hangingPunct="1">
              <a:lnSpc>
                <a:spcPct val="100000"/>
              </a:lnSpc>
              <a:spcBef>
                <a:spcPts val="0"/>
              </a:spcBef>
              <a:spcAft>
                <a:spcPts val="0"/>
              </a:spcAft>
              <a:buClrTx/>
              <a:buSzTx/>
              <a:buFont typeface="Arial"/>
              <a:buNone/>
              <a:tabLst>
                <a:tab pos="10717698" algn="r"/>
              </a:tabLst>
              <a:defRPr/>
            </a:pPr>
            <a:r>
              <a:rPr lang="en-US" dirty="0"/>
              <a:t>Fifth level</a:t>
            </a:r>
          </a:p>
        </p:txBody>
      </p:sp>
      <p:sp>
        <p:nvSpPr>
          <p:cNvPr id="7" name="Text Placeholder 6"/>
          <p:cNvSpPr>
            <a:spLocks noGrp="1"/>
          </p:cNvSpPr>
          <p:nvPr>
            <p:ph type="body" sz="quarter" idx="13"/>
          </p:nvPr>
        </p:nvSpPr>
        <p:spPr>
          <a:xfrm>
            <a:off x="12801600" y="2997200"/>
            <a:ext cx="10972800" cy="9558528"/>
          </a:xfrm>
        </p:spPr>
        <p:txBody>
          <a:bodyPr/>
          <a:lstStyle>
            <a:lvl1pPr marL="0" indent="0">
              <a:spcBef>
                <a:spcPts val="0"/>
              </a:spcBef>
              <a:tabLst>
                <a:tab pos="10496100"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1217920" rtl="0" eaLnBrk="1" fontAlgn="auto" latinLnBrk="0" hangingPunct="1">
              <a:lnSpc>
                <a:spcPct val="100000"/>
              </a:lnSpc>
              <a:spcBef>
                <a:spcPts val="2932"/>
              </a:spcBef>
              <a:spcAft>
                <a:spcPts val="0"/>
              </a:spcAft>
              <a:buClrTx/>
              <a:buSzTx/>
              <a:buFont typeface="Arial"/>
              <a:buNone/>
              <a:tabLst>
                <a:tab pos="10717698" algn="r"/>
              </a:tabLst>
              <a:defRPr/>
            </a:pPr>
            <a:r>
              <a:rPr lang="en-US" dirty="0"/>
              <a:t>Edit Master text styles</a:t>
            </a:r>
          </a:p>
          <a:p>
            <a:pPr marL="0" marR="0" lvl="1" indent="0" algn="l" defTabSz="1217920" rtl="0" eaLnBrk="1" fontAlgn="auto" latinLnBrk="0" hangingPunct="1">
              <a:lnSpc>
                <a:spcPct val="100000"/>
              </a:lnSpc>
              <a:spcBef>
                <a:spcPts val="2932"/>
              </a:spcBef>
              <a:spcAft>
                <a:spcPts val="0"/>
              </a:spcAft>
              <a:buClrTx/>
              <a:buSzTx/>
              <a:buFont typeface="Arial"/>
              <a:buNone/>
              <a:tabLst>
                <a:tab pos="10717698" algn="r"/>
              </a:tabLst>
              <a:defRPr/>
            </a:pPr>
            <a:r>
              <a:rPr lang="en-US" dirty="0"/>
              <a:t>Second level</a:t>
            </a:r>
          </a:p>
          <a:p>
            <a:pPr marL="0" marR="0" lvl="2" indent="0" algn="l" defTabSz="1217920" rtl="0" eaLnBrk="1" fontAlgn="auto" latinLnBrk="0" hangingPunct="1">
              <a:lnSpc>
                <a:spcPct val="100000"/>
              </a:lnSpc>
              <a:spcBef>
                <a:spcPts val="2932"/>
              </a:spcBef>
              <a:spcAft>
                <a:spcPts val="0"/>
              </a:spcAft>
              <a:buClrTx/>
              <a:buSzTx/>
              <a:buFont typeface="Arial"/>
              <a:buNone/>
              <a:tabLst>
                <a:tab pos="10717698" algn="r"/>
              </a:tabLst>
              <a:defRPr/>
            </a:pPr>
            <a:r>
              <a:rPr lang="en-US" dirty="0"/>
              <a:t>Third level</a:t>
            </a:r>
          </a:p>
          <a:p>
            <a:pPr marL="0" marR="0" lvl="3" indent="0" algn="l" defTabSz="1217920" rtl="0" eaLnBrk="1" fontAlgn="auto" latinLnBrk="0" hangingPunct="1">
              <a:lnSpc>
                <a:spcPct val="100000"/>
              </a:lnSpc>
              <a:spcBef>
                <a:spcPts val="2932"/>
              </a:spcBef>
              <a:spcAft>
                <a:spcPts val="0"/>
              </a:spcAft>
              <a:buClrTx/>
              <a:buSzTx/>
              <a:buFont typeface="Arial"/>
              <a:buNone/>
              <a:tabLst>
                <a:tab pos="10717698" algn="r"/>
              </a:tabLst>
              <a:defRPr/>
            </a:pPr>
            <a:r>
              <a:rPr lang="en-US" dirty="0"/>
              <a:t>Fourth level</a:t>
            </a:r>
          </a:p>
          <a:p>
            <a:pPr marL="0" marR="0" lvl="4" indent="0" algn="l" defTabSz="1217920" rtl="0" eaLnBrk="1" fontAlgn="auto" latinLnBrk="0" hangingPunct="1">
              <a:lnSpc>
                <a:spcPct val="100000"/>
              </a:lnSpc>
              <a:spcBef>
                <a:spcPts val="2932"/>
              </a:spcBef>
              <a:spcAft>
                <a:spcPts val="0"/>
              </a:spcAft>
              <a:buClrTx/>
              <a:buSzTx/>
              <a:buFont typeface="Arial"/>
              <a:buNone/>
              <a:tabLst>
                <a:tab pos="10717698" algn="r"/>
              </a:tabLst>
              <a:defRPr/>
            </a:pPr>
            <a:r>
              <a:rPr lang="en-US" dirty="0"/>
              <a:t>Fifth level</a:t>
            </a:r>
          </a:p>
        </p:txBody>
      </p:sp>
    </p:spTree>
    <p:extLst>
      <p:ext uri="{BB962C8B-B14F-4D97-AF65-F5344CB8AC3E}">
        <p14:creationId xmlns:p14="http://schemas.microsoft.com/office/powerpoint/2010/main" val="909623669"/>
      </p:ext>
    </p:extLst>
  </p:cSld>
  <p:clrMapOvr>
    <a:masterClrMapping/>
  </p:clrMapOvr>
  <p:hf hd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609600" y="560837"/>
            <a:ext cx="10972800" cy="2676818"/>
          </a:xfrm>
        </p:spPr>
        <p:txBody>
          <a:bodyPr/>
          <a:lstStyle>
            <a:lvl1pPr>
              <a:defRPr sz="4262">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000000"/>
                </a:solidFill>
              </a:rPr>
              <a:t>Think 2018 / DOC ID / Month XX, 2018 / © 2018 IBM Corporation</a:t>
            </a:r>
          </a:p>
        </p:txBody>
      </p:sp>
      <p:sp>
        <p:nvSpPr>
          <p:cNvPr id="8" name="Text Placeholder 7"/>
          <p:cNvSpPr>
            <a:spLocks noGrp="1"/>
          </p:cNvSpPr>
          <p:nvPr>
            <p:ph type="body" sz="quarter" idx="12"/>
          </p:nvPr>
        </p:nvSpPr>
        <p:spPr>
          <a:xfrm>
            <a:off x="385002" y="2708488"/>
            <a:ext cx="10972800" cy="8290560"/>
          </a:xfrm>
        </p:spPr>
        <p:txBody>
          <a:bodyPr/>
          <a:lstStyle>
            <a:lvl1pPr>
              <a:lnSpc>
                <a:spcPct val="90000"/>
              </a:lnSpc>
              <a:spcBef>
                <a:spcPts val="0"/>
              </a:spcBef>
              <a:defRPr sz="25574" b="1" baseline="0">
                <a:solidFill>
                  <a:schemeClr val="bg2"/>
                </a:solidFill>
                <a:latin typeface="+mj-lt"/>
                <a:ea typeface="IBM Plex Mono" charset="0"/>
                <a:cs typeface="IBM Plex Mono" charset="0"/>
              </a:defRPr>
            </a:lvl1pPr>
          </a:lstStyle>
          <a:p>
            <a:pPr lvl="0"/>
            <a:r>
              <a:rPr lang="en-US"/>
              <a:t>Edit Master text styles</a:t>
            </a:r>
          </a:p>
        </p:txBody>
      </p:sp>
    </p:spTree>
    <p:extLst>
      <p:ext uri="{BB962C8B-B14F-4D97-AF65-F5344CB8AC3E}">
        <p14:creationId xmlns:p14="http://schemas.microsoft.com/office/powerpoint/2010/main" val="1690226176"/>
      </p:ext>
    </p:extLst>
  </p:cSld>
  <p:clrMapOvr>
    <a:masterClrMapping/>
  </p:clrMapOvr>
  <p:hf hd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609600" y="560837"/>
            <a:ext cx="10972800" cy="2676818"/>
          </a:xfrm>
        </p:spPr>
        <p:txBody>
          <a:bodyPr/>
          <a:lstStyle>
            <a:lvl1pPr>
              <a:defRPr sz="4262">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000000"/>
                </a:solidFill>
              </a:rPr>
              <a:t>Think 2018 / DOC ID / Month XX, 2018 / © 2018 IBM Corporation</a:t>
            </a:r>
          </a:p>
        </p:txBody>
      </p:sp>
      <p:sp>
        <p:nvSpPr>
          <p:cNvPr id="8" name="Text Placeholder 7"/>
          <p:cNvSpPr>
            <a:spLocks noGrp="1"/>
          </p:cNvSpPr>
          <p:nvPr>
            <p:ph type="body" sz="quarter" idx="12"/>
          </p:nvPr>
        </p:nvSpPr>
        <p:spPr>
          <a:xfrm>
            <a:off x="385002" y="2708488"/>
            <a:ext cx="10972800" cy="8290560"/>
          </a:xfrm>
        </p:spPr>
        <p:txBody>
          <a:bodyPr/>
          <a:lstStyle>
            <a:lvl1pPr>
              <a:lnSpc>
                <a:spcPct val="90000"/>
              </a:lnSpc>
              <a:spcBef>
                <a:spcPts val="0"/>
              </a:spcBef>
              <a:defRPr sz="25574" b="1" baseline="0">
                <a:solidFill>
                  <a:schemeClr val="bg2"/>
                </a:solidFill>
                <a:latin typeface="+mj-lt"/>
                <a:ea typeface="IBM Plex Mono" charset="0"/>
                <a:cs typeface="IBM Plex Mono" charset="0"/>
              </a:defRPr>
            </a:lvl1pPr>
          </a:lstStyle>
          <a:p>
            <a:pPr lvl="0"/>
            <a:r>
              <a:rPr lang="en-US"/>
              <a:t>Edit Master text styles</a:t>
            </a:r>
          </a:p>
        </p:txBody>
      </p:sp>
      <p:sp>
        <p:nvSpPr>
          <p:cNvPr id="6" name="Picture Placeholder 5"/>
          <p:cNvSpPr>
            <a:spLocks noGrp="1"/>
          </p:cNvSpPr>
          <p:nvPr>
            <p:ph type="pic" sz="quarter" idx="13"/>
          </p:nvPr>
        </p:nvSpPr>
        <p:spPr>
          <a:xfrm>
            <a:off x="12192000" y="0"/>
            <a:ext cx="12192000" cy="137160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4229355853"/>
      </p:ext>
    </p:extLst>
  </p:cSld>
  <p:clrMapOvr>
    <a:masterClrMapping/>
  </p:clrMapOvr>
  <p:hf hd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417088" y="225877"/>
            <a:ext cx="23164800" cy="11929534"/>
          </a:xfrm>
        </p:spPr>
        <p:txBody>
          <a:bodyPr/>
          <a:lstStyle>
            <a:lvl1pPr>
              <a:lnSpc>
                <a:spcPct val="90000"/>
              </a:lnSpc>
              <a:defRPr sz="25574" b="1" i="0">
                <a:latin typeface="+mj-lt"/>
                <a:ea typeface="IBM Plex Mono" charset="0"/>
                <a:cs typeface="IBM Plex Mono"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3567153305"/>
      </p:ext>
    </p:extLst>
  </p:cSld>
  <p:clrMapOvr>
    <a:masterClrMapping/>
  </p:clrMapOvr>
  <p:hf hd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2"/>
            <a:ext cx="13833232" cy="12055480"/>
          </a:xfrm>
        </p:spPr>
        <p:txBody>
          <a:bodyPr/>
          <a:lstStyle>
            <a:lvl1pPr marL="312938" indent="-312938">
              <a:tabLst/>
              <a:defRPr>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2626192762"/>
      </p:ext>
    </p:extLst>
  </p:cSld>
  <p:clrMapOvr>
    <a:masterClrMapping/>
  </p:clrMapOvr>
  <p:hf hd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1097283"/>
            <a:ext cx="10972800" cy="11541466"/>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12801600" y="1316738"/>
            <a:ext cx="10972800" cy="11199280"/>
          </a:xfrm>
        </p:spPr>
        <p:txBody>
          <a:bodyPr/>
          <a:lstStyle>
            <a:lvl1pPr>
              <a:spcBef>
                <a:spcPts val="2932"/>
              </a:spcBef>
              <a:spcAft>
                <a:spcPts val="0"/>
              </a:spcAft>
              <a:defRPr/>
            </a:lvl1pPr>
            <a:lvl2pPr>
              <a:spcBef>
                <a:spcPts val="2932"/>
              </a:spcBef>
              <a:defRPr/>
            </a:lvl2pPr>
            <a:lvl3pPr>
              <a:spcBef>
                <a:spcPts val="2932"/>
              </a:spcBef>
              <a:defRPr/>
            </a:lvl3pPr>
            <a:lvl4pPr>
              <a:spcBef>
                <a:spcPts val="2932"/>
              </a:spcBef>
              <a:defRPr/>
            </a:lvl4pPr>
            <a:lvl5pPr>
              <a:spcBef>
                <a:spcPts val="2932"/>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4843"/>
            <a:ext cx="10972800" cy="800098"/>
          </a:xfrm>
        </p:spPr>
        <p:txBody>
          <a:bodyPr/>
          <a:lstStyle>
            <a:lvl1pPr>
              <a:defRPr sz="2932"/>
            </a:lvl1pPr>
          </a:lstStyle>
          <a:p>
            <a:pPr lvl="0"/>
            <a:r>
              <a:rPr lang="en-US" dirty="0"/>
              <a:t>Edit Master text styles</a:t>
            </a:r>
          </a:p>
        </p:txBody>
      </p:sp>
    </p:spTree>
    <p:extLst>
      <p:ext uri="{BB962C8B-B14F-4D97-AF65-F5344CB8AC3E}">
        <p14:creationId xmlns:p14="http://schemas.microsoft.com/office/powerpoint/2010/main" val="201861275"/>
      </p:ext>
    </p:extLst>
  </p:cSld>
  <p:clrMapOvr>
    <a:masterClrMapping/>
  </p:clrMapOvr>
  <p:hf hd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558288"/>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8" name="Text Placeholder 7"/>
          <p:cNvSpPr>
            <a:spLocks noGrp="1"/>
          </p:cNvSpPr>
          <p:nvPr>
            <p:ph type="body" sz="quarter" idx="12"/>
          </p:nvPr>
        </p:nvSpPr>
        <p:spPr>
          <a:xfrm>
            <a:off x="609600" y="2999239"/>
            <a:ext cx="10972800" cy="9562254"/>
          </a:xfrm>
        </p:spPr>
        <p:txBody>
          <a:bodyPr/>
          <a:lstStyle>
            <a:lvl1pPr>
              <a:spcBef>
                <a:spcPts val="0"/>
              </a:spcBef>
              <a:defRPr sz="3730"/>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12801600" y="2999239"/>
            <a:ext cx="10972800" cy="9562254"/>
          </a:xfrm>
        </p:spPr>
        <p:txBody>
          <a:bodyPr/>
          <a:lstStyle>
            <a:lvl1pPr>
              <a:spcBef>
                <a:spcPts val="0"/>
              </a:spcBef>
              <a:defRPr sz="3730"/>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8687561"/>
      </p:ext>
    </p:extLst>
  </p:cSld>
  <p:clrMapOvr>
    <a:masterClrMapping/>
  </p:clrMapOvr>
  <p:hf hd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00" y="1097280"/>
            <a:ext cx="17068800" cy="17068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12801600" y="2915920"/>
            <a:ext cx="10972800" cy="9572416"/>
          </a:xfrm>
        </p:spPr>
        <p:txBody>
          <a:bodyPr/>
          <a:lstStyle>
            <a:lvl1pPr>
              <a:defRPr sz="4262"/>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6455"/>
            <a:ext cx="10972800" cy="800098"/>
          </a:xfrm>
        </p:spPr>
        <p:txBody>
          <a:bodyPr/>
          <a:lstStyle>
            <a:lvl1pPr>
              <a:defRPr sz="2932"/>
            </a:lvl1pPr>
          </a:lstStyle>
          <a:p>
            <a:pPr lvl="0"/>
            <a:r>
              <a:rPr lang="en-US" dirty="0"/>
              <a:t>Edit Master text styles</a:t>
            </a:r>
          </a:p>
        </p:txBody>
      </p:sp>
      <p:sp>
        <p:nvSpPr>
          <p:cNvPr id="7" name="Text Placeholder 6"/>
          <p:cNvSpPr>
            <a:spLocks noGrp="1"/>
          </p:cNvSpPr>
          <p:nvPr>
            <p:ph type="body" sz="quarter" idx="14"/>
          </p:nvPr>
        </p:nvSpPr>
        <p:spPr>
          <a:xfrm>
            <a:off x="609600" y="2915927"/>
            <a:ext cx="10972800" cy="9572414"/>
          </a:xfrm>
        </p:spPr>
        <p:txBody>
          <a:bodyPr/>
          <a:lstStyle>
            <a:lvl1pPr>
              <a:defRPr sz="4262"/>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925194"/>
      </p:ext>
    </p:extLst>
  </p:cSld>
  <p:clrMapOvr>
    <a:masterClrMapping/>
  </p:clrMapOvr>
  <p:hf hd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1339088"/>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a:solidFill>
                  <a:srgbClr val="000000"/>
                </a:solidFill>
              </a:rPr>
              <a:t>Think 2018 / DOC ID / Month XX, 2018 / © 2018 IBM Corporation</a:t>
            </a:r>
          </a:p>
        </p:txBody>
      </p:sp>
      <p:sp>
        <p:nvSpPr>
          <p:cNvPr id="6" name="Content Placeholder 5"/>
          <p:cNvSpPr>
            <a:spLocks noGrp="1"/>
          </p:cNvSpPr>
          <p:nvPr>
            <p:ph sz="quarter" idx="12"/>
          </p:nvPr>
        </p:nvSpPr>
        <p:spPr>
          <a:xfrm>
            <a:off x="609600" y="2654723"/>
            <a:ext cx="10972800" cy="9833618"/>
          </a:xfrm>
        </p:spPr>
        <p:txBody>
          <a:bodyPr/>
          <a:lstStyle>
            <a:lvl1pPr>
              <a:defRPr sz="6394"/>
            </a:lvl1pPr>
          </a:lstStyle>
          <a:p>
            <a:pPr lvl="0"/>
            <a:r>
              <a:rPr lang="en-US" dirty="0"/>
              <a:t>Edit Master text styles</a:t>
            </a:r>
          </a:p>
        </p:txBody>
      </p:sp>
      <p:sp>
        <p:nvSpPr>
          <p:cNvPr id="8" name="Content Placeholder 7"/>
          <p:cNvSpPr>
            <a:spLocks noGrp="1"/>
          </p:cNvSpPr>
          <p:nvPr>
            <p:ph sz="quarter" idx="13"/>
          </p:nvPr>
        </p:nvSpPr>
        <p:spPr>
          <a:xfrm>
            <a:off x="12801600" y="2977735"/>
            <a:ext cx="10972800" cy="9510606"/>
          </a:xfrm>
        </p:spPr>
        <p:txBody>
          <a:bodyPr/>
          <a:lstStyle>
            <a:lvl1pPr>
              <a:defRPr sz="3730"/>
            </a:lvl1pPr>
            <a:lvl2pPr>
              <a:defRPr sz="3730"/>
            </a:lvl2pPr>
            <a:lvl3pPr>
              <a:defRPr sz="3730"/>
            </a:lvl3pPr>
            <a:lvl4pPr>
              <a:defRPr sz="3730"/>
            </a:lvl4pPr>
            <a:lvl5pPr>
              <a:defRPr sz="373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7514452"/>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00" y="1097280"/>
            <a:ext cx="17068800" cy="17068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12801600" y="2915923"/>
            <a:ext cx="4876800" cy="9572414"/>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6455"/>
            <a:ext cx="10972800" cy="800098"/>
          </a:xfrm>
        </p:spPr>
        <p:txBody>
          <a:bodyPr/>
          <a:lstStyle>
            <a:lvl1pPr>
              <a:defRPr sz="2932"/>
            </a:lvl1pPr>
          </a:lstStyle>
          <a:p>
            <a:pPr lvl="0"/>
            <a:r>
              <a:rPr lang="en-US" dirty="0"/>
              <a:t>Edit Master text styles</a:t>
            </a:r>
          </a:p>
        </p:txBody>
      </p:sp>
      <p:sp>
        <p:nvSpPr>
          <p:cNvPr id="7" name="Text Placeholder 6"/>
          <p:cNvSpPr>
            <a:spLocks noGrp="1"/>
          </p:cNvSpPr>
          <p:nvPr>
            <p:ph type="body" sz="quarter" idx="14"/>
          </p:nvPr>
        </p:nvSpPr>
        <p:spPr>
          <a:xfrm>
            <a:off x="609600" y="2915923"/>
            <a:ext cx="4876800" cy="9572414"/>
          </a:xfrm>
        </p:spPr>
        <p:txBody>
          <a:bodyPr/>
          <a:lstStyle>
            <a:lvl1pPr>
              <a:spcBef>
                <a:spcPts val="2932"/>
              </a:spcBef>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6705600" y="2915923"/>
            <a:ext cx="4876800" cy="9572414"/>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6"/>
          </p:nvPr>
        </p:nvSpPr>
        <p:spPr>
          <a:xfrm>
            <a:off x="18897600" y="2915923"/>
            <a:ext cx="4876800" cy="9572414"/>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3048490"/>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closing - black">
    <p:spTree>
      <p:nvGrpSpPr>
        <p:cNvPr id="1" name=""/>
        <p:cNvGrpSpPr/>
        <p:nvPr/>
      </p:nvGrpSpPr>
      <p:grpSpPr>
        <a:xfrm>
          <a:off x="0" y="0"/>
          <a:ext cx="0" cy="0"/>
          <a:chOff x="0" y="0"/>
          <a:chExt cx="0" cy="0"/>
        </a:xfrm>
      </p:grpSpPr>
      <p:sp>
        <p:nvSpPr>
          <p:cNvPr id="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9"/>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18873216" y="536449"/>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335362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2000" y="0"/>
            <a:ext cx="12192000" cy="13716000"/>
          </a:xfrm>
        </p:spPr>
        <p:txBody>
          <a:bodyPr/>
          <a:lstStyle>
            <a:lvl1pPr>
              <a:defRPr/>
            </a:lvl1pPr>
          </a:lstStyle>
          <a:p>
            <a:r>
              <a:rPr lang="en-US"/>
              <a:t>Click icon to add picture</a:t>
            </a:r>
          </a:p>
        </p:txBody>
      </p:sp>
      <p:sp>
        <p:nvSpPr>
          <p:cNvPr id="2" name="Title 1"/>
          <p:cNvSpPr>
            <a:spLocks noGrp="1"/>
          </p:cNvSpPr>
          <p:nvPr>
            <p:ph type="title"/>
          </p:nvPr>
        </p:nvSpPr>
        <p:spPr>
          <a:xfrm>
            <a:off x="609600" y="1097280"/>
            <a:ext cx="10972800" cy="17068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12" name="Text Placeholder 11"/>
          <p:cNvSpPr>
            <a:spLocks noGrp="1"/>
          </p:cNvSpPr>
          <p:nvPr>
            <p:ph type="body" sz="quarter" idx="13"/>
          </p:nvPr>
        </p:nvSpPr>
        <p:spPr>
          <a:xfrm>
            <a:off x="609600" y="536455"/>
            <a:ext cx="10972800" cy="800098"/>
          </a:xfrm>
        </p:spPr>
        <p:txBody>
          <a:bodyPr/>
          <a:lstStyle>
            <a:lvl1pPr>
              <a:defRPr sz="2932"/>
            </a:lvl1pPr>
          </a:lstStyle>
          <a:p>
            <a:pPr lvl="0"/>
            <a:r>
              <a:rPr lang="en-US" dirty="0"/>
              <a:t>Edit Master text styles</a:t>
            </a:r>
          </a:p>
        </p:txBody>
      </p:sp>
      <p:sp>
        <p:nvSpPr>
          <p:cNvPr id="7" name="Text Placeholder 6"/>
          <p:cNvSpPr>
            <a:spLocks noGrp="1"/>
          </p:cNvSpPr>
          <p:nvPr>
            <p:ph type="body" sz="quarter" idx="14"/>
          </p:nvPr>
        </p:nvSpPr>
        <p:spPr>
          <a:xfrm>
            <a:off x="609600" y="2926087"/>
            <a:ext cx="10972800" cy="9562254"/>
          </a:xfrm>
        </p:spPr>
        <p:txBody>
          <a:bodyPr/>
          <a:lstStyle>
            <a:lvl1pPr>
              <a:defRPr sz="4262"/>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8703831"/>
      </p:ext>
    </p:extLst>
  </p:cSld>
  <p:clrMapOvr>
    <a:masterClrMapping/>
  </p:clrMapOvr>
  <p:hf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12192000" y="0"/>
            <a:ext cx="12192000" cy="13716000"/>
          </a:xfrm>
        </p:spPr>
        <p:txBody>
          <a:bodyPr/>
          <a:lstStyle>
            <a:lvl1pPr>
              <a:defRPr/>
            </a:lvl1pPr>
          </a:lstStyle>
          <a:p>
            <a:r>
              <a:rPr lang="en-US"/>
              <a:t>Click icon to add picture</a:t>
            </a:r>
          </a:p>
        </p:txBody>
      </p:sp>
      <p:sp>
        <p:nvSpPr>
          <p:cNvPr id="2" name="Title 1"/>
          <p:cNvSpPr>
            <a:spLocks noGrp="1"/>
          </p:cNvSpPr>
          <p:nvPr>
            <p:ph type="title"/>
          </p:nvPr>
        </p:nvSpPr>
        <p:spPr>
          <a:xfrm>
            <a:off x="609600" y="536450"/>
            <a:ext cx="10972800" cy="17068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7" name="Text Placeholder 6"/>
          <p:cNvSpPr>
            <a:spLocks noGrp="1"/>
          </p:cNvSpPr>
          <p:nvPr>
            <p:ph type="body" sz="quarter" idx="14"/>
          </p:nvPr>
        </p:nvSpPr>
        <p:spPr>
          <a:xfrm>
            <a:off x="609600" y="2926083"/>
            <a:ext cx="4876800" cy="9562254"/>
          </a:xfrm>
        </p:spPr>
        <p:txBody>
          <a:bodyPr/>
          <a:lstStyle>
            <a:lvl1pPr>
              <a:spcBef>
                <a:spcPts val="2932"/>
              </a:spcBef>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6705600" y="2926083"/>
            <a:ext cx="4876800" cy="9562254"/>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7409814"/>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00" y="2755392"/>
            <a:ext cx="10972800" cy="950976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12801600" y="2926087"/>
            <a:ext cx="4876800" cy="9337186"/>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6455"/>
            <a:ext cx="10972800" cy="800098"/>
          </a:xfrm>
        </p:spPr>
        <p:txBody>
          <a:bodyPr/>
          <a:lstStyle>
            <a:lvl1pPr>
              <a:defRPr sz="2932"/>
            </a:lvl1pPr>
          </a:lstStyle>
          <a:p>
            <a:pPr lvl="0"/>
            <a:r>
              <a:rPr lang="en-US" dirty="0"/>
              <a:t>Edit Master text styles</a:t>
            </a:r>
          </a:p>
        </p:txBody>
      </p:sp>
      <p:sp>
        <p:nvSpPr>
          <p:cNvPr id="10" name="Text Placeholder 9"/>
          <p:cNvSpPr>
            <a:spLocks noGrp="1"/>
          </p:cNvSpPr>
          <p:nvPr>
            <p:ph type="body" sz="quarter" idx="16"/>
          </p:nvPr>
        </p:nvSpPr>
        <p:spPr>
          <a:xfrm>
            <a:off x="18897600" y="2926087"/>
            <a:ext cx="4876800" cy="9337186"/>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7104185"/>
      </p:ext>
    </p:extLst>
  </p:cSld>
  <p:clrMapOvr>
    <a:masterClrMapping/>
  </p:clrMapOvr>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12192000" y="0"/>
            <a:ext cx="12192000" cy="13716000"/>
          </a:xfrm>
          <a:prstGeom prst="rect">
            <a:avLst/>
          </a:prstGeom>
          <a:solidFill>
            <a:schemeClr val="tx1"/>
          </a:solidFill>
        </p:spPr>
        <p:txBody>
          <a:bodyPr wrap="square" lIns="0" tIns="0" rIns="0" bIns="0" rtlCol="0" anchor="ctr">
            <a:noAutofit/>
          </a:bodyPr>
          <a:lstStyle/>
          <a:p>
            <a:pPr algn="ctr"/>
            <a:endParaRPr lang="en-US" sz="3196">
              <a:solidFill>
                <a:srgbClr val="FFFFFF"/>
              </a:solidFill>
              <a:latin typeface="IBM Plex Sans" panose="020B0503050203000203" pitchFamily="34" charset="0"/>
              <a:cs typeface="Arial"/>
            </a:endParaRPr>
          </a:p>
        </p:txBody>
      </p:sp>
      <p:sp>
        <p:nvSpPr>
          <p:cNvPr id="2" name="Title 1"/>
          <p:cNvSpPr>
            <a:spLocks noGrp="1"/>
          </p:cNvSpPr>
          <p:nvPr>
            <p:ph type="title"/>
          </p:nvPr>
        </p:nvSpPr>
        <p:spPr>
          <a:xfrm>
            <a:off x="609600" y="2755392"/>
            <a:ext cx="10972800" cy="950976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12801600" y="2999237"/>
            <a:ext cx="10972800" cy="9337186"/>
          </a:xfrm>
        </p:spPr>
        <p:txBody>
          <a:bodyPr/>
          <a:lstStyle>
            <a:lvl1pPr>
              <a:defRPr>
                <a:solidFill>
                  <a:schemeClr val="bg2"/>
                </a:solidFill>
              </a:defRPr>
            </a:lvl1pPr>
            <a:lvl2pPr marL="0" indent="0">
              <a:spcBef>
                <a:spcPts val="2932"/>
              </a:spcBef>
              <a:buFontTx/>
              <a:buNone/>
              <a:defRPr sz="2932">
                <a:solidFill>
                  <a:schemeClr val="bg2"/>
                </a:solidFill>
              </a:defRPr>
            </a:lvl2pPr>
            <a:lvl3pPr>
              <a:defRPr sz="2932">
                <a:solidFill>
                  <a:schemeClr val="bg2"/>
                </a:solidFill>
              </a:defRPr>
            </a:lvl3pPr>
            <a:lvl4pPr>
              <a:defRPr sz="2932">
                <a:solidFill>
                  <a:schemeClr val="bg2"/>
                </a:solidFill>
              </a:defRPr>
            </a:lvl4pPr>
            <a:lvl5pPr>
              <a:defRPr sz="2932">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6455"/>
            <a:ext cx="10972800" cy="800098"/>
          </a:xfrm>
        </p:spPr>
        <p:txBody>
          <a:bodyPr/>
          <a:lstStyle>
            <a:lvl1pPr>
              <a:defRPr sz="2932"/>
            </a:lvl1pPr>
          </a:lstStyle>
          <a:p>
            <a:pPr lvl="0"/>
            <a:r>
              <a:rPr lang="en-US" dirty="0"/>
              <a:t>Edit Master text styles</a:t>
            </a:r>
          </a:p>
        </p:txBody>
      </p:sp>
    </p:spTree>
    <p:extLst>
      <p:ext uri="{BB962C8B-B14F-4D97-AF65-F5344CB8AC3E}">
        <p14:creationId xmlns:p14="http://schemas.microsoft.com/office/powerpoint/2010/main" val="2789304283"/>
      </p:ext>
    </p:extLst>
  </p:cSld>
  <p:clrMapOvr>
    <a:masterClrMapping/>
  </p:clrMapOvr>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2000" y="0"/>
            <a:ext cx="12192000" cy="13716000"/>
          </a:xfrm>
        </p:spPr>
        <p:txBody>
          <a:bodyPr/>
          <a:lstStyle>
            <a:lvl1pPr>
              <a:defRPr/>
            </a:lvl1pPr>
          </a:lstStyle>
          <a:p>
            <a:r>
              <a:rPr lang="en-US"/>
              <a:t>Click icon to add picture</a:t>
            </a:r>
          </a:p>
        </p:txBody>
      </p:sp>
      <p:sp>
        <p:nvSpPr>
          <p:cNvPr id="2" name="Title 1"/>
          <p:cNvSpPr>
            <a:spLocks noGrp="1"/>
          </p:cNvSpPr>
          <p:nvPr>
            <p:ph type="title"/>
          </p:nvPr>
        </p:nvSpPr>
        <p:spPr>
          <a:xfrm>
            <a:off x="609600" y="536452"/>
            <a:ext cx="10972800" cy="11741064"/>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2498871781"/>
      </p:ext>
    </p:extLst>
  </p:cSld>
  <p:clrMapOvr>
    <a:masterClrMapping/>
  </p:clrMapOvr>
  <p:hf hd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2"/>
            <a:ext cx="10972800" cy="11741064"/>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415694144"/>
      </p:ext>
    </p:extLst>
  </p:cSld>
  <p:clrMapOvr>
    <a:masterClrMapping/>
  </p:clrMapOvr>
  <p:hf hd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101600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3938935830"/>
      </p:ext>
    </p:extLst>
  </p:cSld>
  <p:clrMapOvr>
    <a:masterClrMapping/>
  </p:clrMapOvr>
  <p:hf hd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12192002" y="6858000"/>
            <a:ext cx="12192000" cy="6858000"/>
          </a:xfrm>
          <a:solidFill>
            <a:schemeClr val="accent3"/>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12" name="Text Placeholder 11"/>
          <p:cNvSpPr>
            <a:spLocks noGrp="1"/>
          </p:cNvSpPr>
          <p:nvPr>
            <p:ph type="body" sz="quarter" idx="13"/>
          </p:nvPr>
        </p:nvSpPr>
        <p:spPr>
          <a:xfrm>
            <a:off x="609600" y="487687"/>
            <a:ext cx="10972800" cy="800098"/>
          </a:xfrm>
        </p:spPr>
        <p:txBody>
          <a:bodyPr/>
          <a:lstStyle>
            <a:lvl1pPr>
              <a:defRPr sz="4262"/>
            </a:lvl1pPr>
          </a:lstStyle>
          <a:p>
            <a:pPr lvl="0"/>
            <a:r>
              <a:rPr lang="en-US" dirty="0"/>
              <a:t>Edit Master text styles</a:t>
            </a:r>
          </a:p>
        </p:txBody>
      </p:sp>
      <p:sp>
        <p:nvSpPr>
          <p:cNvPr id="7" name="Text Placeholder 6"/>
          <p:cNvSpPr>
            <a:spLocks noGrp="1"/>
          </p:cNvSpPr>
          <p:nvPr>
            <p:ph type="body" sz="quarter" idx="14"/>
          </p:nvPr>
        </p:nvSpPr>
        <p:spPr>
          <a:xfrm>
            <a:off x="609600" y="2926087"/>
            <a:ext cx="10972800" cy="9303282"/>
          </a:xfrm>
        </p:spPr>
        <p:txBody>
          <a:bodyPr/>
          <a:lstStyle>
            <a:lvl1pPr>
              <a:defRPr sz="4262"/>
            </a:lvl1pPr>
            <a:lvl2pPr>
              <a:defRPr sz="3730"/>
            </a:lvl2pPr>
            <a:lvl3pPr>
              <a:defRPr sz="3730"/>
            </a:lvl3pPr>
            <a:lvl4pPr>
              <a:defRPr sz="3730"/>
            </a:lvl4pPr>
            <a:lvl5pPr>
              <a:defRPr sz="373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18288000" y="0"/>
            <a:ext cx="6096000" cy="6858000"/>
          </a:xfrm>
          <a:solidFill>
            <a:schemeClr val="bg1"/>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10" name="Content Placeholder 9"/>
          <p:cNvSpPr>
            <a:spLocks noGrp="1"/>
          </p:cNvSpPr>
          <p:nvPr>
            <p:ph sz="quarter" idx="16"/>
          </p:nvPr>
        </p:nvSpPr>
        <p:spPr>
          <a:xfrm>
            <a:off x="12192000" y="0"/>
            <a:ext cx="6096000" cy="6858000"/>
          </a:xfrm>
          <a:solidFill>
            <a:schemeClr val="accent2"/>
          </a:solidFill>
        </p:spPr>
        <p:txBody>
          <a:bodyPr lIns="228600" tIns="192024" rIns="228600" bIns="228600"/>
          <a:lstStyle>
            <a:lvl1pPr>
              <a:defRPr sz="3730">
                <a:solidFill>
                  <a:schemeClr val="bg2"/>
                </a:solidFill>
              </a:defRPr>
            </a:lvl1pPr>
          </a:lstStyle>
          <a:p>
            <a:pPr lvl="0"/>
            <a:r>
              <a:rPr lang="en-US" dirty="0"/>
              <a:t>Edit Master text styles</a:t>
            </a:r>
          </a:p>
        </p:txBody>
      </p:sp>
    </p:spTree>
    <p:extLst>
      <p:ext uri="{BB962C8B-B14F-4D97-AF65-F5344CB8AC3E}">
        <p14:creationId xmlns:p14="http://schemas.microsoft.com/office/powerpoint/2010/main" val="1894493792"/>
      </p:ext>
    </p:extLst>
  </p:cSld>
  <p:clrMapOvr>
    <a:masterClrMapping/>
  </p:clrMapOvr>
  <p:hf hd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12192002" y="6858000"/>
            <a:ext cx="12192000" cy="6858000"/>
          </a:xfrm>
          <a:solidFill>
            <a:schemeClr val="accent3"/>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8" name="Content Placeholder 7"/>
          <p:cNvSpPr>
            <a:spLocks noGrp="1"/>
          </p:cNvSpPr>
          <p:nvPr>
            <p:ph sz="quarter" idx="15"/>
          </p:nvPr>
        </p:nvSpPr>
        <p:spPr>
          <a:xfrm>
            <a:off x="18288000" y="0"/>
            <a:ext cx="6096000" cy="6858000"/>
          </a:xfrm>
          <a:solidFill>
            <a:schemeClr val="accent2"/>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10" name="Content Placeholder 9"/>
          <p:cNvSpPr>
            <a:spLocks noGrp="1"/>
          </p:cNvSpPr>
          <p:nvPr>
            <p:ph sz="quarter" idx="16"/>
          </p:nvPr>
        </p:nvSpPr>
        <p:spPr>
          <a:xfrm>
            <a:off x="12192000" y="0"/>
            <a:ext cx="6096000" cy="6858000"/>
          </a:xfrm>
          <a:solidFill>
            <a:schemeClr val="tx1"/>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5" name="Content Placeholder 4"/>
          <p:cNvSpPr>
            <a:spLocks noGrp="1"/>
          </p:cNvSpPr>
          <p:nvPr>
            <p:ph sz="quarter" idx="18"/>
          </p:nvPr>
        </p:nvSpPr>
        <p:spPr>
          <a:xfrm>
            <a:off x="0" y="6858005"/>
            <a:ext cx="12192000" cy="5630334"/>
          </a:xfrm>
          <a:solidFill>
            <a:schemeClr val="tx1"/>
          </a:solidFill>
        </p:spPr>
        <p:txBody>
          <a:bodyPr lIns="228600" tIns="192024" rIns="228600" bIns="228600"/>
          <a:lstStyle>
            <a:lvl1pPr>
              <a:defRPr sz="373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p:txBody>
      </p:sp>
      <p:sp>
        <p:nvSpPr>
          <p:cNvPr id="6" name="Title 5"/>
          <p:cNvSpPr>
            <a:spLocks noGrp="1"/>
          </p:cNvSpPr>
          <p:nvPr>
            <p:ph type="title"/>
          </p:nvPr>
        </p:nvSpPr>
        <p:spPr>
          <a:xfrm>
            <a:off x="5" y="-1"/>
            <a:ext cx="12191998" cy="6858002"/>
          </a:xfrm>
          <a:solidFill>
            <a:schemeClr val="accent2"/>
          </a:solidFill>
        </p:spPr>
        <p:txBody>
          <a:bodyPr lIns="228600" tIns="201168" rIns="228600" bIns="228600"/>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142492377"/>
      </p:ext>
    </p:extLst>
  </p:cSld>
  <p:clrMapOvr>
    <a:masterClrMapping/>
  </p:clrMapOvr>
  <p:hf hd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18287994" y="6858000"/>
            <a:ext cx="6096000" cy="6858000"/>
          </a:xfrm>
          <a:solidFill>
            <a:schemeClr val="accent4">
              <a:lumMod val="60000"/>
              <a:lumOff val="40000"/>
            </a:schemeClr>
          </a:solidFill>
        </p:spPr>
        <p:txBody>
          <a:bodyPr lIns="228600" tIns="192024" rIns="228600" bIns="228600"/>
          <a:lstStyle>
            <a:lvl1pPr>
              <a:defRPr sz="3730">
                <a:solidFill>
                  <a:schemeClr val="bg1"/>
                </a:solidFill>
              </a:defRPr>
            </a:lvl1pPr>
          </a:lstStyle>
          <a:p>
            <a:pPr lvl="0"/>
            <a:r>
              <a:rPr lang="en-US" dirty="0"/>
              <a:t>Edit Master text styles</a:t>
            </a:r>
          </a:p>
        </p:txBody>
      </p:sp>
      <p:sp>
        <p:nvSpPr>
          <p:cNvPr id="10" name="Content Placeholder 9"/>
          <p:cNvSpPr>
            <a:spLocks noGrp="1"/>
          </p:cNvSpPr>
          <p:nvPr>
            <p:ph sz="quarter" idx="16"/>
          </p:nvPr>
        </p:nvSpPr>
        <p:spPr>
          <a:xfrm>
            <a:off x="6096000" y="6858000"/>
            <a:ext cx="6096000" cy="6858000"/>
          </a:xfrm>
          <a:solidFill>
            <a:schemeClr val="accent3"/>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14" name="Content Placeholder 13"/>
          <p:cNvSpPr>
            <a:spLocks noGrp="1"/>
          </p:cNvSpPr>
          <p:nvPr>
            <p:ph sz="quarter" idx="17"/>
          </p:nvPr>
        </p:nvSpPr>
        <p:spPr>
          <a:xfrm>
            <a:off x="12192006" y="6858000"/>
            <a:ext cx="6095992" cy="6858000"/>
          </a:xfrm>
          <a:solidFill>
            <a:schemeClr val="accent4"/>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5" name="Content Placeholder 4"/>
          <p:cNvSpPr>
            <a:spLocks noGrp="1"/>
          </p:cNvSpPr>
          <p:nvPr>
            <p:ph sz="quarter" idx="18"/>
          </p:nvPr>
        </p:nvSpPr>
        <p:spPr>
          <a:xfrm>
            <a:off x="0" y="6858000"/>
            <a:ext cx="6096000" cy="6858000"/>
          </a:xfrm>
          <a:solidFill>
            <a:schemeClr val="accent2"/>
          </a:solidFill>
        </p:spPr>
        <p:txBody>
          <a:bodyPr lIns="228600" tIns="192024" rIns="228600" bIns="228600"/>
          <a:lstStyle>
            <a:lvl1pPr>
              <a:defRPr sz="373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itle 5"/>
          <p:cNvSpPr>
            <a:spLocks noGrp="1"/>
          </p:cNvSpPr>
          <p:nvPr>
            <p:ph type="title"/>
          </p:nvPr>
        </p:nvSpPr>
        <p:spPr>
          <a:xfrm>
            <a:off x="5" y="-1"/>
            <a:ext cx="24383998" cy="6858002"/>
          </a:xfrm>
          <a:solidFill>
            <a:schemeClr val="tx1"/>
          </a:solidFill>
        </p:spPr>
        <p:txBody>
          <a:bodyPr lIns="228600" tIns="155448" rIns="228600" bIns="228600"/>
          <a:lstStyle>
            <a:lvl1pPr>
              <a:defRPr sz="12788">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5954166"/>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text (light background)">
    <p:spTree>
      <p:nvGrpSpPr>
        <p:cNvPr id="1" name=""/>
        <p:cNvGrpSpPr/>
        <p:nvPr/>
      </p:nvGrpSpPr>
      <p:grpSpPr>
        <a:xfrm>
          <a:off x="0" y="0"/>
          <a:ext cx="0" cy="0"/>
          <a:chOff x="0" y="0"/>
          <a:chExt cx="0" cy="0"/>
        </a:xfrm>
      </p:grpSpPr>
      <p:sp>
        <p:nvSpPr>
          <p:cNvPr id="8" name="Rectangle 7"/>
          <p:cNvSpPr/>
          <p:nvPr userDrawn="1"/>
        </p:nvSpPr>
        <p:spPr>
          <a:xfrm>
            <a:off x="12192000" y="1"/>
            <a:ext cx="12192000" cy="13716000"/>
          </a:xfrm>
          <a:prstGeom prst="rect">
            <a:avLst/>
          </a:prstGeom>
          <a:solidFill>
            <a:schemeClr val="tx2"/>
          </a:solidFill>
        </p:spPr>
        <p:txBody>
          <a:bodyPr wrap="square" lIns="0" tIns="0" rIns="0" bIns="0" rtlCol="0" anchor="ctr">
            <a:noAutofit/>
          </a:bodyPr>
          <a:lstStyle/>
          <a:p>
            <a:pPr algn="ctr"/>
            <a:endParaRPr lang="en-US" sz="3197" err="1">
              <a:solidFill>
                <a:srgbClr val="FFFFFF"/>
              </a:solidFill>
              <a:latin typeface="Arial"/>
              <a:cs typeface="Arial"/>
            </a:endParaRPr>
          </a:p>
        </p:txBody>
      </p:sp>
      <p:sp>
        <p:nvSpPr>
          <p:cNvPr id="2" name="Title 1"/>
          <p:cNvSpPr>
            <a:spLocks noGrp="1"/>
          </p:cNvSpPr>
          <p:nvPr>
            <p:ph type="title"/>
          </p:nvPr>
        </p:nvSpPr>
        <p:spPr>
          <a:xfrm>
            <a:off x="560832" y="536449"/>
            <a:ext cx="11045771"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9"/>
            <a:ext cx="10997184" cy="11452352"/>
          </a:xfrm>
        </p:spPr>
        <p:txBody>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0776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itle 5"/>
          <p:cNvSpPr>
            <a:spLocks noGrp="1"/>
          </p:cNvSpPr>
          <p:nvPr>
            <p:ph type="title"/>
          </p:nvPr>
        </p:nvSpPr>
        <p:spPr>
          <a:xfrm>
            <a:off x="5" y="-2"/>
            <a:ext cx="24383998" cy="3441704"/>
          </a:xfrm>
          <a:solidFill>
            <a:schemeClr val="tx1"/>
          </a:solidFill>
        </p:spPr>
        <p:txBody>
          <a:bodyPr lIns="228600" tIns="201168" rIns="228600" bIns="228600"/>
          <a:lstStyle>
            <a:lvl1pPr>
              <a:defRPr sz="6394">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946068076"/>
      </p:ext>
    </p:extLst>
  </p:cSld>
  <p:clrMapOvr>
    <a:masterClrMapping/>
  </p:clrMapOvr>
  <p:hf hdr="0" dt="0"/>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7620000"/>
            <a:ext cx="6096000" cy="6096000"/>
          </a:xfrm>
          <a:solidFill>
            <a:schemeClr val="tx1"/>
          </a:solidFill>
        </p:spPr>
        <p:txBody>
          <a:bodyPr lIns="228600" tIns="155448" rIns="228600" bIns="228600"/>
          <a:lstStyle>
            <a:lvl1pPr>
              <a:defRPr>
                <a:solidFill>
                  <a:schemeClr val="bg2"/>
                </a:solidFill>
              </a:defRPr>
            </a:lvl1pPr>
            <a:lvl2pPr>
              <a:defRPr sz="2664">
                <a:solidFill>
                  <a:schemeClr val="bg2"/>
                </a:solidFill>
              </a:defRPr>
            </a:lvl2pPr>
            <a:lvl3pPr>
              <a:defRPr sz="2664">
                <a:solidFill>
                  <a:schemeClr val="bg2"/>
                </a:solidFill>
              </a:defRPr>
            </a:lvl3pPr>
            <a:lvl4pPr>
              <a:defRPr sz="2664">
                <a:solidFill>
                  <a:schemeClr val="bg2"/>
                </a:solidFill>
              </a:defRPr>
            </a:lvl4pPr>
            <a:lvl5pPr>
              <a:defRPr sz="2664">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1666255625"/>
      </p:ext>
    </p:extLst>
  </p:cSld>
  <p:clrMapOvr>
    <a:masterClrMapping/>
  </p:clrMapOvr>
  <p:hf hd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
            <a:ext cx="6096000" cy="13716000"/>
          </a:xfrm>
          <a:solidFill>
            <a:schemeClr val="tx1"/>
          </a:solidFill>
        </p:spPr>
        <p:txBody>
          <a:bodyPr lIns="228600" tIns="192024" rIns="228600" bIns="228600"/>
          <a:lstStyle>
            <a:lvl1pPr>
              <a:defRPr sz="4262">
                <a:solidFill>
                  <a:schemeClr val="bg2"/>
                </a:solidFill>
              </a:defRPr>
            </a:lvl1pPr>
            <a:lvl2pPr>
              <a:defRPr sz="2932">
                <a:solidFill>
                  <a:schemeClr val="bg2"/>
                </a:solidFill>
              </a:defRPr>
            </a:lvl2pPr>
            <a:lvl3pPr>
              <a:defRPr sz="2932">
                <a:solidFill>
                  <a:schemeClr val="bg2"/>
                </a:solidFill>
              </a:defRPr>
            </a:lvl3pPr>
            <a:lvl4pPr>
              <a:defRPr sz="2932">
                <a:solidFill>
                  <a:schemeClr val="bg2"/>
                </a:solidFill>
              </a:defRPr>
            </a:lvl4pPr>
            <a:lvl5pPr>
              <a:defRPr sz="2932">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10"/>
          <p:cNvSpPr>
            <a:spLocks noGrp="1"/>
          </p:cNvSpPr>
          <p:nvPr>
            <p:ph sz="quarter" idx="20"/>
          </p:nvPr>
        </p:nvSpPr>
        <p:spPr>
          <a:xfrm>
            <a:off x="6096000" y="0"/>
            <a:ext cx="6096000" cy="13716000"/>
          </a:xfrm>
          <a:solidFill>
            <a:schemeClr val="accent2"/>
          </a:solidFill>
        </p:spPr>
        <p:txBody>
          <a:bodyPr lIns="228600" tIns="192024" rIns="228600" bIns="228600"/>
          <a:lstStyle>
            <a:lvl1pPr>
              <a:defRPr sz="3730">
                <a:solidFill>
                  <a:schemeClr val="bg2"/>
                </a:solidFill>
              </a:defRPr>
            </a:lvl1pPr>
            <a:lvl2pPr>
              <a:defRPr sz="2932">
                <a:solidFill>
                  <a:schemeClr val="bg2"/>
                </a:solidFill>
              </a:defRPr>
            </a:lvl2pPr>
            <a:lvl3pPr>
              <a:defRPr sz="2932">
                <a:solidFill>
                  <a:schemeClr val="bg2"/>
                </a:solidFill>
              </a:defRPr>
            </a:lvl3pPr>
            <a:lvl4pPr>
              <a:defRPr sz="2932">
                <a:solidFill>
                  <a:schemeClr val="bg2"/>
                </a:solidFill>
              </a:defRPr>
            </a:lvl4pPr>
            <a:lvl5pPr>
              <a:defRPr sz="2932">
                <a:solidFill>
                  <a:schemeClr val="bg2"/>
                </a:solidFill>
              </a:defRPr>
            </a:lvl5pPr>
          </a:lstStyle>
          <a:p>
            <a:pPr lvl="0"/>
            <a:r>
              <a:rPr lang="en-US" dirty="0"/>
              <a:t>Edit Master text styles</a:t>
            </a:r>
          </a:p>
        </p:txBody>
      </p:sp>
      <p:sp>
        <p:nvSpPr>
          <p:cNvPr id="15" name="Content Placeholder 14"/>
          <p:cNvSpPr>
            <a:spLocks noGrp="1"/>
          </p:cNvSpPr>
          <p:nvPr>
            <p:ph sz="quarter" idx="21"/>
          </p:nvPr>
        </p:nvSpPr>
        <p:spPr>
          <a:xfrm>
            <a:off x="12192000" y="0"/>
            <a:ext cx="6096000" cy="13716000"/>
          </a:xfrm>
          <a:solidFill>
            <a:schemeClr val="accent3"/>
          </a:solidFill>
        </p:spPr>
        <p:txBody>
          <a:bodyPr lIns="228600" tIns="192024" rIns="228600" bIns="228600"/>
          <a:lstStyle>
            <a:lvl1pPr>
              <a:defRPr sz="3730">
                <a:solidFill>
                  <a:schemeClr val="bg2"/>
                </a:solidFill>
              </a:defRPr>
            </a:lvl1pPr>
            <a:lvl2pPr>
              <a:defRPr sz="2932">
                <a:solidFill>
                  <a:schemeClr val="bg2"/>
                </a:solidFill>
              </a:defRPr>
            </a:lvl2pPr>
            <a:lvl3pPr>
              <a:defRPr sz="2932">
                <a:solidFill>
                  <a:schemeClr val="bg2"/>
                </a:solidFill>
              </a:defRPr>
            </a:lvl3pPr>
            <a:lvl4pPr>
              <a:defRPr sz="2932">
                <a:solidFill>
                  <a:schemeClr val="bg2"/>
                </a:solidFill>
              </a:defRPr>
            </a:lvl4pPr>
            <a:lvl5pPr>
              <a:defRPr sz="2932">
                <a:solidFill>
                  <a:schemeClr val="bg2"/>
                </a:solidFill>
              </a:defRPr>
            </a:lvl5pPr>
          </a:lstStyle>
          <a:p>
            <a:pPr lvl="0"/>
            <a:r>
              <a:rPr lang="en-US" dirty="0"/>
              <a:t>Edit Master text styles</a:t>
            </a:r>
          </a:p>
        </p:txBody>
      </p:sp>
      <p:sp>
        <p:nvSpPr>
          <p:cNvPr id="17" name="Content Placeholder 16"/>
          <p:cNvSpPr>
            <a:spLocks noGrp="1"/>
          </p:cNvSpPr>
          <p:nvPr>
            <p:ph sz="quarter" idx="22"/>
          </p:nvPr>
        </p:nvSpPr>
        <p:spPr>
          <a:xfrm>
            <a:off x="18288000" y="0"/>
            <a:ext cx="6096000" cy="13716000"/>
          </a:xfrm>
          <a:solidFill>
            <a:schemeClr val="accent4"/>
          </a:solidFill>
        </p:spPr>
        <p:txBody>
          <a:bodyPr lIns="228600" tIns="192024" rIns="228600" bIns="228600"/>
          <a:lstStyle>
            <a:lvl1pPr>
              <a:defRPr sz="3730">
                <a:solidFill>
                  <a:schemeClr val="bg2"/>
                </a:solidFill>
              </a:defRPr>
            </a:lvl1pPr>
            <a:lvl2pPr>
              <a:defRPr sz="2932">
                <a:solidFill>
                  <a:schemeClr val="bg2"/>
                </a:solidFill>
              </a:defRPr>
            </a:lvl2pPr>
            <a:lvl3pPr>
              <a:defRPr sz="2932">
                <a:solidFill>
                  <a:schemeClr val="bg2"/>
                </a:solidFill>
              </a:defRPr>
            </a:lvl3pPr>
            <a:lvl4pPr>
              <a:defRPr sz="2932">
                <a:solidFill>
                  <a:schemeClr val="bg2"/>
                </a:solidFill>
              </a:defRPr>
            </a:lvl4pPr>
            <a:lvl5pPr>
              <a:defRPr sz="2932">
                <a:solidFill>
                  <a:schemeClr val="bg2"/>
                </a:solidFill>
              </a:defRPr>
            </a:lvl5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3811454853"/>
      </p:ext>
    </p:extLst>
  </p:cSld>
  <p:clrMapOvr>
    <a:masterClrMapping/>
  </p:clrMapOvr>
  <p:hf hd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1"/>
            <a:ext cx="10972800" cy="238673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609600" y="2926087"/>
            <a:ext cx="4876800" cy="9337186"/>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876749"/>
      </p:ext>
    </p:extLst>
  </p:cSld>
  <p:clrMapOvr>
    <a:masterClrMapping/>
  </p:clrMapOvr>
  <p:hf hd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1"/>
            <a:ext cx="10972800" cy="238673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7" name="Text Placeholder 6"/>
          <p:cNvSpPr>
            <a:spLocks noGrp="1"/>
          </p:cNvSpPr>
          <p:nvPr>
            <p:ph type="body" sz="quarter" idx="12"/>
          </p:nvPr>
        </p:nvSpPr>
        <p:spPr>
          <a:xfrm>
            <a:off x="609600" y="2977305"/>
            <a:ext cx="4876800" cy="9211734"/>
          </a:xfrm>
        </p:spPr>
        <p:txBody>
          <a:bodyPr/>
          <a:lstStyle>
            <a:lvl1pPr>
              <a:defRPr sz="3730"/>
            </a:lvl1pPr>
            <a:lvl2pPr>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3"/>
          </p:nvPr>
        </p:nvSpPr>
        <p:spPr>
          <a:xfrm>
            <a:off x="6705600" y="1778005"/>
            <a:ext cx="17068800" cy="10198102"/>
          </a:xfrm>
        </p:spPr>
        <p:txBody>
          <a:bodyPr/>
          <a:lstStyle>
            <a:lvl1pPr>
              <a:defRPr/>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9548740"/>
      </p:ext>
    </p:extLst>
  </p:cSld>
  <p:clrMapOvr>
    <a:masterClrMapping/>
  </p:clrMapOvr>
  <p:hf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1"/>
            <a:ext cx="10972800" cy="238673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7" name="Text Placeholder 6"/>
          <p:cNvSpPr>
            <a:spLocks noGrp="1"/>
          </p:cNvSpPr>
          <p:nvPr>
            <p:ph type="body" sz="quarter" idx="12"/>
          </p:nvPr>
        </p:nvSpPr>
        <p:spPr>
          <a:xfrm>
            <a:off x="609600" y="2977305"/>
            <a:ext cx="4876800" cy="9211734"/>
          </a:xfrm>
        </p:spPr>
        <p:txBody>
          <a:bodyPr/>
          <a:lstStyle>
            <a:lvl1pPr>
              <a:defRPr sz="3730"/>
            </a:lvl1pPr>
            <a:lvl2pPr>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4515981"/>
      </p:ext>
    </p:extLst>
  </p:cSld>
  <p:clrMapOvr>
    <a:masterClrMapping/>
  </p:clrMapOvr>
  <p:hf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1"/>
            <a:ext cx="10972800" cy="238673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7" name="Text Placeholder 6"/>
          <p:cNvSpPr>
            <a:spLocks noGrp="1"/>
          </p:cNvSpPr>
          <p:nvPr>
            <p:ph type="body" sz="quarter" idx="12"/>
          </p:nvPr>
        </p:nvSpPr>
        <p:spPr>
          <a:xfrm>
            <a:off x="609600" y="2926080"/>
            <a:ext cx="4876800" cy="9339072"/>
          </a:xfrm>
        </p:spPr>
        <p:txBody>
          <a:bodyPr/>
          <a:lstStyle>
            <a:lvl1pPr>
              <a:defRPr sz="4262"/>
            </a:lvl1pPr>
            <a:lvl2pPr>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6705600" y="2999234"/>
            <a:ext cx="4876800" cy="9217152"/>
          </a:xfrm>
        </p:spPr>
        <p:txBody>
          <a:bodyPr/>
          <a:lstStyle>
            <a:lvl1pPr>
              <a:defRPr sz="3730"/>
            </a:lvl1pPr>
            <a:lvl2pPr marL="0" indent="0">
              <a:buNone/>
              <a:defRPr sz="2664"/>
            </a:lvl2pPr>
            <a:lvl3pPr>
              <a:defRPr sz="2664"/>
            </a:lvl3pPr>
            <a:lvl4pPr>
              <a:defRPr sz="2664"/>
            </a:lvl4pPr>
            <a:lvl5pPr>
              <a:defRPr sz="2664"/>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12192000" y="0"/>
            <a:ext cx="12192000" cy="13716000"/>
          </a:xfrm>
        </p:spPr>
        <p:txBody>
          <a:bodyPr/>
          <a:lstStyle>
            <a:lvl1pPr>
              <a:defRPr/>
            </a:lvl1pPr>
          </a:lstStyle>
          <a:p>
            <a:r>
              <a:rPr lang="en-US"/>
              <a:t>Click icon to add picture</a:t>
            </a:r>
          </a:p>
        </p:txBody>
      </p:sp>
    </p:spTree>
    <p:extLst>
      <p:ext uri="{BB962C8B-B14F-4D97-AF65-F5344CB8AC3E}">
        <p14:creationId xmlns:p14="http://schemas.microsoft.com/office/powerpoint/2010/main" val="3921319734"/>
      </p:ext>
    </p:extLst>
  </p:cSld>
  <p:clrMapOvr>
    <a:masterClrMapping/>
  </p:clrMapOvr>
  <p:hf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1"/>
            <a:ext cx="10972800" cy="238673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7" name="Text Placeholder 6"/>
          <p:cNvSpPr>
            <a:spLocks noGrp="1"/>
          </p:cNvSpPr>
          <p:nvPr>
            <p:ph type="body" sz="quarter" idx="12"/>
          </p:nvPr>
        </p:nvSpPr>
        <p:spPr>
          <a:xfrm>
            <a:off x="609600" y="2926080"/>
            <a:ext cx="4876800" cy="9339072"/>
          </a:xfrm>
        </p:spPr>
        <p:txBody>
          <a:bodyPr/>
          <a:lstStyle>
            <a:lvl1pPr>
              <a:defRPr sz="4262"/>
            </a:lvl1pPr>
            <a:lvl2pPr>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6705600" y="2976034"/>
            <a:ext cx="4876800" cy="9217152"/>
          </a:xfrm>
        </p:spPr>
        <p:txBody>
          <a:bodyPr/>
          <a:lstStyle>
            <a:lvl1pPr>
              <a:defRPr sz="3730"/>
            </a:lvl1pPr>
            <a:lvl2pPr marL="0" indent="0">
              <a:buNone/>
              <a:defRPr sz="2664"/>
            </a:lvl2pPr>
            <a:lvl3pPr>
              <a:defRPr sz="2664"/>
            </a:lvl3pPr>
            <a:lvl4pPr>
              <a:defRPr sz="2664"/>
            </a:lvl4pPr>
            <a:lvl5pPr>
              <a:defRPr sz="2664"/>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12534381" y="2804160"/>
            <a:ext cx="11240022" cy="9217152"/>
          </a:xfrm>
        </p:spPr>
        <p:txBody>
          <a:bodyPr/>
          <a:lstStyle>
            <a:lvl1pPr marL="312938" indent="-312938">
              <a:tabLst/>
              <a:defRPr sz="6394"/>
            </a:lvl1pPr>
            <a:lvl2pPr marL="0" indent="0">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0655766"/>
      </p:ext>
    </p:extLst>
  </p:cSld>
  <p:clrMapOvr>
    <a:masterClrMapping/>
  </p:clrMapOvr>
  <p:hf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609600" y="512070"/>
            <a:ext cx="4876800" cy="11757320"/>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6"/>
          <p:cNvSpPr>
            <a:spLocks noGrp="1"/>
          </p:cNvSpPr>
          <p:nvPr>
            <p:ph type="tbl" sz="quarter" idx="13"/>
          </p:nvPr>
        </p:nvSpPr>
        <p:spPr>
          <a:xfrm>
            <a:off x="6705600" y="601137"/>
            <a:ext cx="17068800" cy="12259734"/>
          </a:xfrm>
        </p:spPr>
        <p:txBody>
          <a:bodyPr/>
          <a:lstStyle>
            <a:lvl1pPr>
              <a:defRPr/>
            </a:lvl1pPr>
          </a:lstStyle>
          <a:p>
            <a:r>
              <a:rPr lang="en-US"/>
              <a:t>Click icon to add table</a:t>
            </a:r>
          </a:p>
        </p:txBody>
      </p:sp>
    </p:spTree>
    <p:extLst>
      <p:ext uri="{BB962C8B-B14F-4D97-AF65-F5344CB8AC3E}">
        <p14:creationId xmlns:p14="http://schemas.microsoft.com/office/powerpoint/2010/main" val="3351564542"/>
      </p:ext>
    </p:extLst>
  </p:cSld>
  <p:clrMapOvr>
    <a:masterClrMapping/>
  </p:clrMapOvr>
  <p:hf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2992761898"/>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1"/>
            <a:ext cx="12192000" cy="13716000"/>
          </a:xfrm>
        </p:spPr>
        <p:txBody>
          <a:bodyPr lIns="91440" tIns="91440" rIns="91440" bIns="91440"/>
          <a:lstStyle/>
          <a:p>
            <a:r>
              <a:rPr lang="en-US"/>
              <a:t>Click icon to add picture</a:t>
            </a:r>
          </a:p>
        </p:txBody>
      </p:sp>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33835702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8857870"/>
      </p:ext>
    </p:extLst>
  </p:cSld>
  <p:clrMapOvr>
    <a:masterClrMapping/>
  </p:clrMapOvr>
  <p:hf hd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281936"/>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609600" y="3048000"/>
            <a:ext cx="10972800" cy="9558528"/>
          </a:xfrm>
        </p:spPr>
        <p:txBody>
          <a:bodyPr/>
          <a:lstStyle>
            <a:lvl1pPr marL="0" indent="0">
              <a:spcBef>
                <a:spcPts val="0"/>
              </a:spcBef>
              <a:tabLst>
                <a:tab pos="10496100" algn="dec"/>
              </a:tabLst>
              <a:defRPr sz="2932"/>
            </a:lvl1pPr>
            <a:lvl2pPr marL="460950" indent="-460950">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7920" rtl="0" eaLnBrk="1" fontAlgn="auto" latinLnBrk="0" hangingPunct="1">
              <a:lnSpc>
                <a:spcPct val="100000"/>
              </a:lnSpc>
              <a:spcBef>
                <a:spcPts val="0"/>
              </a:spcBef>
              <a:spcAft>
                <a:spcPts val="0"/>
              </a:spcAft>
              <a:buClrTx/>
              <a:buSzTx/>
              <a:buFont typeface="Arial"/>
              <a:buNone/>
              <a:tabLst>
                <a:tab pos="10717698" algn="r"/>
              </a:tabLst>
              <a:defRPr/>
            </a:pPr>
            <a:r>
              <a:rPr lang="en-US" dirty="0"/>
              <a:t>Edit Master text styles</a:t>
            </a:r>
          </a:p>
        </p:txBody>
      </p:sp>
    </p:spTree>
    <p:extLst>
      <p:ext uri="{BB962C8B-B14F-4D97-AF65-F5344CB8AC3E}">
        <p14:creationId xmlns:p14="http://schemas.microsoft.com/office/powerpoint/2010/main" val="4293830495"/>
      </p:ext>
    </p:extLst>
  </p:cSld>
  <p:clrMapOvr>
    <a:masterClrMapping/>
  </p:clrMapOvr>
  <p:hf hd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69208" y="5829741"/>
            <a:ext cx="3445584" cy="1402926"/>
          </a:xfrm>
          <a:prstGeom prst="rect">
            <a:avLst/>
          </a:prstGeom>
        </p:spPr>
      </p:pic>
    </p:spTree>
    <p:extLst>
      <p:ext uri="{BB962C8B-B14F-4D97-AF65-F5344CB8AC3E}">
        <p14:creationId xmlns:p14="http://schemas.microsoft.com/office/powerpoint/2010/main" val="4108429711"/>
      </p:ext>
    </p:extLst>
  </p:cSld>
  <p:clrMapOvr>
    <a:masterClrMapping/>
  </p:clrMapOvr>
  <p:hf hdr="0" dt="0"/>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T3_Bar Gray90_Left">
    <p:bg>
      <p:bgPr>
        <a:solidFill>
          <a:srgbClr val="EBEBEB"/>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6096000" cy="13716000"/>
          </a:xfrm>
          <a:prstGeom prst="rect">
            <a:avLst/>
          </a:prstGeom>
          <a:solidFill>
            <a:srgbClr val="C9DEFF"/>
          </a:solidFill>
        </p:spPr>
        <p:txBody>
          <a:bodyPr wrap="square" lIns="0" tIns="0" rIns="0" bIns="0" rtlCol="0" anchor="ctr">
            <a:noAutofit/>
          </a:bodyPr>
          <a:lstStyle/>
          <a:p>
            <a:pPr algn="ctr"/>
            <a:endParaRPr lang="en-US" sz="3196" err="1">
              <a:solidFill>
                <a:srgbClr val="FFFFFF"/>
              </a:solidFill>
              <a:latin typeface="IBM Plex Sans" panose="020B0503050000000000" pitchFamily="34" charset="0"/>
              <a:cs typeface="Arial"/>
            </a:endParaRP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8" name="Title 1"/>
          <p:cNvSpPr>
            <a:spLocks noGrp="1"/>
          </p:cNvSpPr>
          <p:nvPr>
            <p:ph type="title" hasCustomPrompt="1"/>
          </p:nvPr>
        </p:nvSpPr>
        <p:spPr>
          <a:xfrm>
            <a:off x="609600" y="522793"/>
            <a:ext cx="4876800" cy="11976270"/>
          </a:xfrm>
        </p:spPr>
        <p:txBody>
          <a:bodyPr vert="horz" wrap="square" lIns="0" tIns="0" rIns="0" bIns="0" rtlCol="0" anchor="t" anchorCtr="0">
            <a:noAutofit/>
          </a:bodyPr>
          <a:lstStyle>
            <a:lvl1pPr>
              <a:defRPr lang="en-US" sz="7460" baseline="0">
                <a:solidFill>
                  <a:schemeClr val="tx1"/>
                </a:solidFill>
              </a:defRPr>
            </a:lvl1pPr>
          </a:lstStyle>
          <a:p>
            <a:pPr marL="0" lvl="0" indent="0">
              <a:buFont typeface="Arial"/>
            </a:pPr>
            <a:r>
              <a:rPr lang="en-US" dirty="0"/>
              <a:t>28pt short title</a:t>
            </a:r>
          </a:p>
        </p:txBody>
      </p:sp>
    </p:spTree>
    <p:extLst>
      <p:ext uri="{BB962C8B-B14F-4D97-AF65-F5344CB8AC3E}">
        <p14:creationId xmlns:p14="http://schemas.microsoft.com/office/powerpoint/2010/main" val="93658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itle Only - Black Bkgd">
    <p:bg>
      <p:bgPr>
        <a:solidFill>
          <a:srgbClr val="01020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Footer Placeholder 3"/>
          <p:cNvSpPr>
            <a:spLocks noGrp="1"/>
          </p:cNvSpPr>
          <p:nvPr>
            <p:ph type="ftr" sz="quarter" idx="10"/>
          </p:nvPr>
        </p:nvSpPr>
        <p:spPr/>
        <p:txBody>
          <a:bodyPr/>
          <a:lstStyle>
            <a:lvl1pPr>
              <a:defRPr/>
            </a:lvl1pPr>
          </a:lstStyle>
          <a:p>
            <a:pPr defTabSz="1644190">
              <a:lnSpc>
                <a:spcPct val="90000"/>
              </a:lnSpc>
              <a:spcBef>
                <a:spcPts val="1438"/>
              </a:spcBef>
              <a:buClr>
                <a:srgbClr val="1D3649"/>
              </a:buClr>
            </a:pPr>
            <a:endParaRPr lang="en-US">
              <a:solidFill>
                <a:srgbClr val="FFFFFF"/>
              </a:solidFill>
            </a:endParaRPr>
          </a:p>
        </p:txBody>
      </p:sp>
    </p:spTree>
    <p:extLst>
      <p:ext uri="{BB962C8B-B14F-4D97-AF65-F5344CB8AC3E}">
        <p14:creationId xmlns:p14="http://schemas.microsoft.com/office/powerpoint/2010/main" val="323215850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6_Bar_Gray70_Left">
    <p:bg>
      <p:bgPr>
        <a:solidFill>
          <a:srgbClr val="EBEBEB"/>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6096000" cy="13716000"/>
          </a:xfrm>
          <a:prstGeom prst="rect">
            <a:avLst/>
          </a:prstGeom>
          <a:solidFill>
            <a:srgbClr val="565656"/>
          </a:solidFill>
        </p:spPr>
        <p:txBody>
          <a:bodyPr wrap="square" lIns="0" tIns="0" rIns="0" bIns="0" rtlCol="0" anchor="ctr">
            <a:noAutofit/>
          </a:bodyPr>
          <a:lstStyle/>
          <a:p>
            <a:pPr algn="ctr"/>
            <a:endParaRPr lang="en-US" sz="3196" err="1">
              <a:solidFill>
                <a:srgbClr val="000000"/>
              </a:solidFill>
              <a:latin typeface="Arial"/>
              <a:cs typeface="Arial"/>
            </a:endParaRP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en-US">
                <a:solidFill>
                  <a:srgbClr val="000000"/>
                </a:solidFill>
              </a:rPr>
              <a:t>Think 2018 / DOC ID / Month XX, 2018 / © 2018 IBM Corporation</a:t>
            </a:r>
          </a:p>
        </p:txBody>
      </p:sp>
      <p:sp>
        <p:nvSpPr>
          <p:cNvPr id="7" name="Title 1"/>
          <p:cNvSpPr>
            <a:spLocks noGrp="1"/>
          </p:cNvSpPr>
          <p:nvPr>
            <p:ph type="title" hasCustomPrompt="1"/>
          </p:nvPr>
        </p:nvSpPr>
        <p:spPr>
          <a:xfrm>
            <a:off x="609600" y="522793"/>
            <a:ext cx="4876800" cy="11976270"/>
          </a:xfrm>
        </p:spPr>
        <p:txBody>
          <a:bodyPr vert="horz" wrap="square" lIns="0" tIns="0" rIns="0" bIns="0" rtlCol="0" anchor="t" anchorCtr="0">
            <a:noAutofit/>
          </a:bodyPr>
          <a:lstStyle>
            <a:lvl1pPr>
              <a:defRPr lang="en-US" sz="7460">
                <a:solidFill>
                  <a:schemeClr val="bg2"/>
                </a:solidFill>
              </a:defRPr>
            </a:lvl1pPr>
          </a:lstStyle>
          <a:p>
            <a:pPr marL="0" lvl="0" indent="0">
              <a:buFont typeface="Arial"/>
            </a:pPr>
            <a:r>
              <a:rPr lang="en-US" dirty="0"/>
              <a:t>28pt short title</a:t>
            </a:r>
          </a:p>
        </p:txBody>
      </p:sp>
    </p:spTree>
    <p:extLst>
      <p:ext uri="{BB962C8B-B14F-4D97-AF65-F5344CB8AC3E}">
        <p14:creationId xmlns:p14="http://schemas.microsoft.com/office/powerpoint/2010/main" val="409659382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3_Custom Layout">
    <p:spTree>
      <p:nvGrpSpPr>
        <p:cNvPr id="1" name=""/>
        <p:cNvGrpSpPr/>
        <p:nvPr/>
      </p:nvGrpSpPr>
      <p:grpSpPr>
        <a:xfrm>
          <a:off x="0" y="0"/>
          <a:ext cx="0" cy="0"/>
          <a:chOff x="0" y="0"/>
          <a:chExt cx="0" cy="0"/>
        </a:xfrm>
      </p:grpSpPr>
      <p:sp>
        <p:nvSpPr>
          <p:cNvPr id="5" name="Rectangle 4"/>
          <p:cNvSpPr/>
          <p:nvPr/>
        </p:nvSpPr>
        <p:spPr>
          <a:xfrm>
            <a:off x="0" y="-1735"/>
            <a:ext cx="24384000" cy="1946290"/>
          </a:xfrm>
          <a:prstGeom prst="rect">
            <a:avLst/>
          </a:prstGeom>
          <a:solidFill>
            <a:schemeClr val="accent1"/>
          </a:solidFill>
          <a:ln w="9525" cap="flat" cmpd="sng" algn="ctr">
            <a:noFill/>
            <a:prstDash val="solid"/>
          </a:ln>
          <a:effectLst/>
        </p:spPr>
        <p:txBody>
          <a:bodyPr lIns="182706" tIns="91354" rIns="182706" bIns="91354" spcCol="0" rtlCol="0" anchor="ctr"/>
          <a:lstStyle/>
          <a:p>
            <a:pPr algn="ctr"/>
            <a:endParaRPr lang="en-US" sz="5398" kern="0">
              <a:solidFill>
                <a:srgbClr val="FFFFFF"/>
              </a:solidFill>
              <a:latin typeface="Calibri"/>
            </a:endParaRPr>
          </a:p>
        </p:txBody>
      </p:sp>
      <p:sp>
        <p:nvSpPr>
          <p:cNvPr id="2" name="Title 1"/>
          <p:cNvSpPr>
            <a:spLocks noGrp="1"/>
          </p:cNvSpPr>
          <p:nvPr>
            <p:ph type="title"/>
          </p:nvPr>
        </p:nvSpPr>
        <p:spPr>
          <a:xfrm>
            <a:off x="1219200" y="245325"/>
            <a:ext cx="20272320" cy="1468310"/>
          </a:xfrm>
        </p:spPr>
        <p:txBody>
          <a:bodyPr/>
          <a:lstStyle>
            <a:lvl1pPr>
              <a:defRPr>
                <a:solidFill>
                  <a:srgbClr val="FFFFFF"/>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F2104BB4-88E0-9547-9C3D-EE95037318C2}" type="slidenum">
              <a:rPr lang="en-US" smtClean="0"/>
              <a:t>‹#›</a:t>
            </a:fld>
            <a:endParaRPr lang="en-US"/>
          </a:p>
        </p:txBody>
      </p:sp>
      <p:sp>
        <p:nvSpPr>
          <p:cNvPr id="4" name="TextBox 3"/>
          <p:cNvSpPr txBox="1"/>
          <p:nvPr/>
        </p:nvSpPr>
        <p:spPr>
          <a:xfrm>
            <a:off x="369465" y="12743249"/>
            <a:ext cx="8343514" cy="645776"/>
          </a:xfrm>
          <a:prstGeom prst="rect">
            <a:avLst/>
          </a:prstGeom>
          <a:noFill/>
        </p:spPr>
        <p:txBody>
          <a:bodyPr wrap="square" lIns="243610" tIns="121804" rIns="243610" bIns="121804" rtlCol="0">
            <a:spAutoFit/>
          </a:bodyPr>
          <a:lstStyle/>
          <a:p>
            <a:r>
              <a:rPr lang="en-US" sz="2598" dirty="0">
                <a:solidFill>
                  <a:schemeClr val="tx1"/>
                </a:solidFill>
                <a:latin typeface="IBM Plex Sans"/>
                <a:cs typeface="IBM Plex Sans"/>
              </a:rPr>
              <a:t>IBM Hybrid Cloud Digital</a:t>
            </a:r>
          </a:p>
        </p:txBody>
      </p:sp>
      <p:pic>
        <p:nvPicPr>
          <p:cNvPr id="6" name="Picture 5" descr="Hybrid Cloud Digital Logo whit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40177" y="107758"/>
            <a:ext cx="2290874" cy="1713632"/>
          </a:xfrm>
          <a:prstGeom prst="rect">
            <a:avLst/>
          </a:prstGeom>
        </p:spPr>
      </p:pic>
      <p:sp>
        <p:nvSpPr>
          <p:cNvPr id="7" name="Content Placeholder 2"/>
          <p:cNvSpPr>
            <a:spLocks noGrp="1"/>
          </p:cNvSpPr>
          <p:nvPr>
            <p:ph idx="1"/>
          </p:nvPr>
        </p:nvSpPr>
        <p:spPr>
          <a:xfrm>
            <a:off x="1219200" y="2954331"/>
            <a:ext cx="22415408" cy="9298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422854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2_2-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1998" y="1143003"/>
            <a:ext cx="22860000" cy="1905002"/>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2">
                <a:solidFill>
                  <a:schemeClr val="accent1"/>
                </a:solidFill>
              </a:defRPr>
            </a:lvl1pPr>
            <a:lvl2pPr>
              <a:defRPr sz="2662">
                <a:solidFill>
                  <a:schemeClr val="accent1"/>
                </a:solidFill>
              </a:defRPr>
            </a:lvl2pPr>
            <a:lvl3pPr>
              <a:defRPr sz="2662">
                <a:solidFill>
                  <a:schemeClr val="accent1"/>
                </a:solidFill>
              </a:defRPr>
            </a:lvl3pPr>
            <a:lvl4pPr>
              <a:defRPr sz="2662">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62000" y="12237723"/>
            <a:ext cx="10972800" cy="762002"/>
          </a:xfrm>
        </p:spPr>
        <p:txBody>
          <a:bodyPr tIns="0" anchor="b"/>
          <a:lstStyle>
            <a:lvl1pPr>
              <a:defRPr sz="1330" b="0">
                <a:solidFill>
                  <a:schemeClr val="bg2">
                    <a:alpha val="60000"/>
                  </a:schemeClr>
                </a:solidFill>
                <a:latin typeface="Arial" panose="020B0604020202020204" pitchFamily="34" charset="0"/>
                <a:ea typeface="Arial" panose="020B0604020202020204" pitchFamily="34" charset="0"/>
                <a:cs typeface="Arial" panose="020B0604020202020204" pitchFamily="34" charset="0"/>
              </a:defRPr>
            </a:lvl1pPr>
            <a:lvl2pPr>
              <a:defRPr sz="1498"/>
            </a:lvl2pPr>
            <a:lvl3pPr>
              <a:defRPr sz="1498"/>
            </a:lvl3pPr>
            <a:lvl4pPr>
              <a:defRPr sz="1498"/>
            </a:lvl4pPr>
            <a:lvl5pPr>
              <a:defRPr sz="1498"/>
            </a:lvl5pPr>
          </a:lstStyle>
          <a:p>
            <a:pPr lvl="0"/>
            <a:r>
              <a:rPr lang="en-US" dirty="0"/>
              <a:t>Source: Edit source here</a:t>
            </a:r>
          </a:p>
        </p:txBody>
      </p:sp>
      <p:sp>
        <p:nvSpPr>
          <p:cNvPr id="14" name="Date Placeholder 2"/>
          <p:cNvSpPr txBox="1">
            <a:spLocks/>
          </p:cNvSpPr>
          <p:nvPr userDrawn="1"/>
        </p:nvSpPr>
        <p:spPr>
          <a:xfrm>
            <a:off x="3760250" y="13166094"/>
            <a:ext cx="2286000" cy="367616"/>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0" b="0" i="0" dirty="0">
                <a:solidFill>
                  <a:schemeClr val="bg2">
                    <a:alpha val="60000"/>
                  </a:schemeClr>
                </a:solidFill>
                <a:latin typeface="Arial" panose="020B0604020202020204" pitchFamily="34" charset="0"/>
                <a:ea typeface="IBM Plex Sans" charset="0"/>
                <a:cs typeface="Arial" panose="020B0604020202020204" pitchFamily="34" charset="0"/>
              </a:rPr>
              <a:t> </a:t>
            </a:r>
          </a:p>
        </p:txBody>
      </p:sp>
    </p:spTree>
    <p:extLst>
      <p:ext uri="{BB962C8B-B14F-4D97-AF65-F5344CB8AC3E}">
        <p14:creationId xmlns:p14="http://schemas.microsoft.com/office/powerpoint/2010/main" val="400737620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957892" y="12598399"/>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1" y="372533"/>
            <a:ext cx="11045953" cy="2145793"/>
          </a:xfrm>
          <a:prstGeom prst="rect">
            <a:avLst/>
          </a:prstGeom>
        </p:spPr>
        <p:txBody>
          <a:bodyPr/>
          <a:lstStyle>
            <a:lvl1pPr defTabSz="2438400">
              <a:lnSpc>
                <a:spcPct val="90000"/>
              </a:lnSpc>
              <a:spcBef>
                <a:spcPts val="0"/>
              </a:spcBef>
              <a:defRPr sz="6400"/>
            </a:lvl1pPr>
          </a:lstStyle>
          <a:p>
            <a:r>
              <a:t>Title Text</a:t>
            </a:r>
          </a:p>
        </p:txBody>
      </p:sp>
      <p:grpSp>
        <p:nvGrpSpPr>
          <p:cNvPr id="509" name="Group 59"/>
          <p:cNvGrpSpPr/>
          <p:nvPr/>
        </p:nvGrpSpPr>
        <p:grpSpPr>
          <a:xfrm>
            <a:off x="623992" y="-318348"/>
            <a:ext cx="23164620" cy="243841"/>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21" name="Group 60"/>
          <p:cNvGrpSpPr/>
          <p:nvPr/>
        </p:nvGrpSpPr>
        <p:grpSpPr>
          <a:xfrm>
            <a:off x="611292" y="13768494"/>
            <a:ext cx="23164620" cy="243841"/>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31" name="Group 61"/>
          <p:cNvGrpSpPr/>
          <p:nvPr/>
        </p:nvGrpSpPr>
        <p:grpSpPr>
          <a:xfrm>
            <a:off x="-419615" y="633983"/>
            <a:ext cx="243841" cy="12438551"/>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41" name="Group 62"/>
          <p:cNvGrpSpPr/>
          <p:nvPr/>
        </p:nvGrpSpPr>
        <p:grpSpPr>
          <a:xfrm>
            <a:off x="24434800" y="633983"/>
            <a:ext cx="243841" cy="12435842"/>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542" name="Straight Connector 92"/>
          <p:cNvSpPr/>
          <p:nvPr/>
        </p:nvSpPr>
        <p:spPr>
          <a:xfrm flipV="1">
            <a:off x="611292"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3" name="Straight Connector 93"/>
          <p:cNvSpPr/>
          <p:nvPr/>
        </p:nvSpPr>
        <p:spPr>
          <a:xfrm flipV="1">
            <a:off x="54880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4" name="Straight Connector 94"/>
          <p:cNvSpPr/>
          <p:nvPr/>
        </p:nvSpPr>
        <p:spPr>
          <a:xfrm flipV="1">
            <a:off x="61103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5" name="Straight Connector 95"/>
          <p:cNvSpPr/>
          <p:nvPr/>
        </p:nvSpPr>
        <p:spPr>
          <a:xfrm flipV="1">
            <a:off x="6707293"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6" name="Straight Connector 96"/>
          <p:cNvSpPr/>
          <p:nvPr/>
        </p:nvSpPr>
        <p:spPr>
          <a:xfrm flipV="1">
            <a:off x="11584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7" name="Straight Connector 97"/>
          <p:cNvSpPr/>
          <p:nvPr/>
        </p:nvSpPr>
        <p:spPr>
          <a:xfrm flipV="1">
            <a:off x="121936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8" name="Straight Connector 98"/>
          <p:cNvSpPr/>
          <p:nvPr/>
        </p:nvSpPr>
        <p:spPr>
          <a:xfrm flipV="1">
            <a:off x="128032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9" name="Straight Connector 99"/>
          <p:cNvSpPr/>
          <p:nvPr/>
        </p:nvSpPr>
        <p:spPr>
          <a:xfrm flipV="1">
            <a:off x="17680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0" name="Straight Connector 100"/>
          <p:cNvSpPr/>
          <p:nvPr/>
        </p:nvSpPr>
        <p:spPr>
          <a:xfrm flipV="1">
            <a:off x="182896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1" name="Straight Connector 101"/>
          <p:cNvSpPr/>
          <p:nvPr/>
        </p:nvSpPr>
        <p:spPr>
          <a:xfrm flipV="1">
            <a:off x="188992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2" name="Straight Connector 102"/>
          <p:cNvSpPr/>
          <p:nvPr/>
        </p:nvSpPr>
        <p:spPr>
          <a:xfrm flipV="1">
            <a:off x="23775911"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3"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4"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5"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6"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7"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8"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9"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0"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1"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2"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3"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4" name="Straight Connector 72"/>
          <p:cNvSpPr/>
          <p:nvPr/>
        </p:nvSpPr>
        <p:spPr>
          <a:xfrm flipH="1">
            <a:off x="-419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5" name="Straight Connector 73"/>
          <p:cNvSpPr/>
          <p:nvPr/>
        </p:nvSpPr>
        <p:spPr>
          <a:xfrm flipH="1">
            <a:off x="-419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6" name="Straight Connector 74"/>
          <p:cNvSpPr/>
          <p:nvPr/>
        </p:nvSpPr>
        <p:spPr>
          <a:xfrm flipH="1">
            <a:off x="-419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7" name="Straight Connector 75"/>
          <p:cNvSpPr/>
          <p:nvPr/>
        </p:nvSpPr>
        <p:spPr>
          <a:xfrm flipH="1">
            <a:off x="-419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8" name="Straight Connector 76"/>
          <p:cNvSpPr/>
          <p:nvPr/>
        </p:nvSpPr>
        <p:spPr>
          <a:xfrm flipH="1">
            <a:off x="-419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9" name="Straight Connector 77"/>
          <p:cNvSpPr/>
          <p:nvPr/>
        </p:nvSpPr>
        <p:spPr>
          <a:xfrm flipH="1">
            <a:off x="-419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0" name="Straight Connector 78"/>
          <p:cNvSpPr/>
          <p:nvPr/>
        </p:nvSpPr>
        <p:spPr>
          <a:xfrm flipH="1">
            <a:off x="-419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1" name="Straight Connector 79"/>
          <p:cNvSpPr/>
          <p:nvPr/>
        </p:nvSpPr>
        <p:spPr>
          <a:xfrm flipH="1">
            <a:off x="-419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2" name="Straight Connector 80"/>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3"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4"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5"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6"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7"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8"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9"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0"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1"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582"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583" name="IBM Customer Success / © 2021 IBM Corporation"/>
          <p:cNvSpPr txBox="1"/>
          <p:nvPr userDrawn="1"/>
        </p:nvSpPr>
        <p:spPr>
          <a:xfrm>
            <a:off x="1189631"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1934102429"/>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6" name="Rectangle 5"/>
          <p:cNvSpPr/>
          <p:nvPr userDrawn="1"/>
        </p:nvSpPr>
        <p:spPr>
          <a:xfrm>
            <a:off x="0" y="3429000"/>
            <a:ext cx="24384000" cy="10287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latin typeface="IBM Plex Sans" charset="0"/>
                <a:ea typeface="IBM Plex Sans" charset="0"/>
                <a:cs typeface="IBM Plex Sans" charset="0"/>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758097"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124" name="Content Placeholder 2"/>
          <p:cNvSpPr>
            <a:spLocks noGrp="1"/>
          </p:cNvSpPr>
          <p:nvPr>
            <p:ph idx="1"/>
          </p:nvPr>
        </p:nvSpPr>
        <p:spPr>
          <a:xfrm>
            <a:off x="758097"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5" name="Content Placeholder 2"/>
          <p:cNvSpPr>
            <a:spLocks noGrp="1"/>
          </p:cNvSpPr>
          <p:nvPr>
            <p:ph idx="13"/>
          </p:nvPr>
        </p:nvSpPr>
        <p:spPr>
          <a:xfrm>
            <a:off x="12649200"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34607714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8328815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2_Title and Content">
    <p:bg>
      <p:bgPr>
        <a:solidFill>
          <a:schemeClr val="accent2"/>
        </a:solidFill>
        <a:effectLst/>
      </p:bgPr>
    </p:bg>
    <p:spTree>
      <p:nvGrpSpPr>
        <p:cNvPr id="1" name=""/>
        <p:cNvGrpSpPr/>
        <p:nvPr/>
      </p:nvGrpSpPr>
      <p:grpSpPr>
        <a:xfrm>
          <a:off x="0" y="0"/>
          <a:ext cx="0" cy="0"/>
          <a:chOff x="0" y="0"/>
          <a:chExt cx="0" cy="0"/>
        </a:xfrm>
      </p:grpSpPr>
      <p:sp>
        <p:nvSpPr>
          <p:cNvPr id="6" name="Rectangle 5"/>
          <p:cNvSpPr/>
          <p:nvPr userDrawn="1"/>
        </p:nvSpPr>
        <p:spPr>
          <a:xfrm>
            <a:off x="0" y="3429000"/>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lumMod val="40000"/>
                    <a:lumOff val="60000"/>
                  </a:schemeClr>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5" name="Text Placeholder 23"/>
          <p:cNvSpPr>
            <a:spLocks noGrp="1"/>
          </p:cNvSpPr>
          <p:nvPr>
            <p:ph type="body" sz="quarter" idx="12" hasCustomPrompt="1"/>
          </p:nvPr>
        </p:nvSpPr>
        <p:spPr>
          <a:xfrm>
            <a:off x="758097" y="12237720"/>
            <a:ext cx="10972800" cy="76200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6"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7"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22" name="Content Placeholder 2"/>
          <p:cNvSpPr>
            <a:spLocks noGrp="1"/>
          </p:cNvSpPr>
          <p:nvPr>
            <p:ph idx="1"/>
          </p:nvPr>
        </p:nvSpPr>
        <p:spPr>
          <a:xfrm>
            <a:off x="758097"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3" name="Content Placeholder 2"/>
          <p:cNvSpPr>
            <a:spLocks noGrp="1"/>
          </p:cNvSpPr>
          <p:nvPr>
            <p:ph idx="13"/>
          </p:nvPr>
        </p:nvSpPr>
        <p:spPr>
          <a:xfrm>
            <a:off x="12649200"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18"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64054373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10" name="Rectangle 9"/>
          <p:cNvSpPr/>
          <p:nvPr userDrawn="1"/>
        </p:nvSpPr>
        <p:spPr>
          <a:xfrm>
            <a:off x="0" y="3429000"/>
            <a:ext cx="24384000" cy="10287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3" name="Content Placeholder 2"/>
          <p:cNvSpPr>
            <a:spLocks noGrp="1"/>
          </p:cNvSpPr>
          <p:nvPr>
            <p:ph idx="1"/>
          </p:nvPr>
        </p:nvSpPr>
        <p:spPr>
          <a:xfrm>
            <a:off x="762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9" name="Text Placeholder 23"/>
          <p:cNvSpPr>
            <a:spLocks noGrp="1"/>
          </p:cNvSpPr>
          <p:nvPr>
            <p:ph type="body" sz="quarter" idx="14" hasCustomPrompt="1"/>
          </p:nvPr>
        </p:nvSpPr>
        <p:spPr>
          <a:xfrm>
            <a:off x="762000" y="12237720"/>
            <a:ext cx="10972800" cy="76200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4" name="Group 13"/>
          <p:cNvGrpSpPr/>
          <p:nvPr userDrawn="1"/>
        </p:nvGrpSpPr>
        <p:grpSpPr>
          <a:xfrm>
            <a:off x="1524000" y="13166093"/>
            <a:ext cx="4522250" cy="367618"/>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7"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8"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22"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372737134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4_Title and Content">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a:xfrm>
            <a:off x="0" y="3429000"/>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lumMod val="40000"/>
                    <a:lumOff val="60000"/>
                  </a:schemeClr>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7" name="Text Placeholder 23"/>
          <p:cNvSpPr>
            <a:spLocks noGrp="1"/>
          </p:cNvSpPr>
          <p:nvPr>
            <p:ph type="body" sz="quarter" idx="14" hasCustomPrompt="1"/>
          </p:nvPr>
        </p:nvSpPr>
        <p:spPr>
          <a:xfrm>
            <a:off x="762000"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4" name="Group 13"/>
          <p:cNvGrpSpPr/>
          <p:nvPr userDrawn="1"/>
        </p:nvGrpSpPr>
        <p:grpSpPr>
          <a:xfrm>
            <a:off x="1524000" y="13166093"/>
            <a:ext cx="4522250" cy="367618"/>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8"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22"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23" name="Content Placeholder 2"/>
          <p:cNvSpPr>
            <a:spLocks noGrp="1"/>
          </p:cNvSpPr>
          <p:nvPr>
            <p:ph idx="1"/>
          </p:nvPr>
        </p:nvSpPr>
        <p:spPr>
          <a:xfrm>
            <a:off x="762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4"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5"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6"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19"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292136289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2-4_Title and Content">
    <p:bg>
      <p:bgPr>
        <a:solidFill>
          <a:schemeClr val="accent2"/>
        </a:solidFill>
        <a:effectLst/>
      </p:bgPr>
    </p:bg>
    <p:spTree>
      <p:nvGrpSpPr>
        <p:cNvPr id="1" name=""/>
        <p:cNvGrpSpPr/>
        <p:nvPr/>
      </p:nvGrpSpPr>
      <p:grpSpPr>
        <a:xfrm>
          <a:off x="0" y="0"/>
          <a:ext cx="0" cy="0"/>
          <a:chOff x="0" y="0"/>
          <a:chExt cx="0" cy="0"/>
        </a:xfrm>
      </p:grpSpPr>
      <p:sp>
        <p:nvSpPr>
          <p:cNvPr id="19" name="Rectangle 18"/>
          <p:cNvSpPr/>
          <p:nvPr userDrawn="1"/>
        </p:nvSpPr>
        <p:spPr>
          <a:xfrm flipV="1">
            <a:off x="0" y="0"/>
            <a:ext cx="24384000" cy="3429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10" name="Rectangle 9"/>
          <p:cNvSpPr/>
          <p:nvPr userDrawn="1"/>
        </p:nvSpPr>
        <p:spPr>
          <a:xfrm>
            <a:off x="0" y="3429000"/>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7" name="Text Placeholder 23"/>
          <p:cNvSpPr>
            <a:spLocks noGrp="1"/>
          </p:cNvSpPr>
          <p:nvPr>
            <p:ph type="body" sz="quarter" idx="14" hasCustomPrompt="1"/>
          </p:nvPr>
        </p:nvSpPr>
        <p:spPr>
          <a:xfrm>
            <a:off x="762000"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4" name="Group 13"/>
          <p:cNvGrpSpPr/>
          <p:nvPr userDrawn="1"/>
        </p:nvGrpSpPr>
        <p:grpSpPr>
          <a:xfrm>
            <a:off x="1524000" y="13166093"/>
            <a:ext cx="4522250" cy="367618"/>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8"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22"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23" name="Content Placeholder 2"/>
          <p:cNvSpPr>
            <a:spLocks noGrp="1"/>
          </p:cNvSpPr>
          <p:nvPr>
            <p:ph idx="1"/>
          </p:nvPr>
        </p:nvSpPr>
        <p:spPr>
          <a:xfrm>
            <a:off x="762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4"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5"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6"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21"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333266274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2-4_Title and Content">
    <p:bg>
      <p:bgPr>
        <a:solidFill>
          <a:schemeClr val="accent2"/>
        </a:solidFill>
        <a:effectLst/>
      </p:bgPr>
    </p:bg>
    <p:spTree>
      <p:nvGrpSpPr>
        <p:cNvPr id="1" name=""/>
        <p:cNvGrpSpPr/>
        <p:nvPr/>
      </p:nvGrpSpPr>
      <p:grpSpPr>
        <a:xfrm>
          <a:off x="0" y="0"/>
          <a:ext cx="0" cy="0"/>
          <a:chOff x="0" y="0"/>
          <a:chExt cx="0" cy="0"/>
        </a:xfrm>
      </p:grpSpPr>
      <p:sp>
        <p:nvSpPr>
          <p:cNvPr id="19" name="Rectangle 18"/>
          <p:cNvSpPr/>
          <p:nvPr userDrawn="1"/>
        </p:nvSpPr>
        <p:spPr>
          <a:xfrm flipV="1">
            <a:off x="0" y="0"/>
            <a:ext cx="2438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10" name="Rectangle 9"/>
          <p:cNvSpPr/>
          <p:nvPr userDrawn="1"/>
        </p:nvSpPr>
        <p:spPr>
          <a:xfrm>
            <a:off x="0" y="3429000"/>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1143000"/>
            <a:ext cx="22860000" cy="1905000"/>
          </a:xfrm>
        </p:spPr>
        <p:txBody>
          <a:bodyPr>
            <a:noAutofit/>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vert="horz" lIns="0" tIns="0" rIns="0" bIns="0" rtlCol="0" anchor="t">
            <a:noAutofit/>
          </a:bodyPr>
          <a:lstStyle>
            <a:lvl1pPr>
              <a:defRPr lang="en-US" sz="2667" dirty="0">
                <a:solidFill>
                  <a:schemeClr val="accent1"/>
                </a:solidFill>
              </a:defRPr>
            </a:lvl1pPr>
          </a:lstStyle>
          <a:p>
            <a:pPr lvl="0"/>
            <a:r>
              <a:rPr lang="en-US" dirty="0"/>
              <a:t>Click to edit Master text styles</a:t>
            </a:r>
          </a:p>
        </p:txBody>
      </p:sp>
      <p:sp>
        <p:nvSpPr>
          <p:cNvPr id="17" name="Text Placeholder 23"/>
          <p:cNvSpPr>
            <a:spLocks noGrp="1"/>
          </p:cNvSpPr>
          <p:nvPr>
            <p:ph type="body" sz="quarter" idx="14" hasCustomPrompt="1"/>
          </p:nvPr>
        </p:nvSpPr>
        <p:spPr>
          <a:xfrm>
            <a:off x="762000"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4" name="Group 13"/>
          <p:cNvGrpSpPr/>
          <p:nvPr userDrawn="1"/>
        </p:nvGrpSpPr>
        <p:grpSpPr>
          <a:xfrm>
            <a:off x="1524000" y="13166093"/>
            <a:ext cx="4522250" cy="367618"/>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8"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22"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23" name="Content Placeholder 2"/>
          <p:cNvSpPr>
            <a:spLocks noGrp="1"/>
          </p:cNvSpPr>
          <p:nvPr>
            <p:ph idx="1"/>
          </p:nvPr>
        </p:nvSpPr>
        <p:spPr>
          <a:xfrm>
            <a:off x="762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4"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5"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6"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28840388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2-3_Title and Content">
    <p:spTree>
      <p:nvGrpSpPr>
        <p:cNvPr id="1" name=""/>
        <p:cNvGrpSpPr/>
        <p:nvPr/>
      </p:nvGrpSpPr>
      <p:grpSpPr>
        <a:xfrm>
          <a:off x="0" y="0"/>
          <a:ext cx="0" cy="0"/>
          <a:chOff x="0" y="0"/>
          <a:chExt cx="0" cy="0"/>
        </a:xfrm>
      </p:grpSpPr>
      <p:sp>
        <p:nvSpPr>
          <p:cNvPr id="22" name="Rectangle 21"/>
          <p:cNvSpPr/>
          <p:nvPr userDrawn="1"/>
        </p:nvSpPr>
        <p:spPr>
          <a:xfrm flipV="1">
            <a:off x="0" y="0"/>
            <a:ext cx="2438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10" name="Rectangle 9"/>
          <p:cNvSpPr/>
          <p:nvPr userDrawn="1"/>
        </p:nvSpPr>
        <p:spPr>
          <a:xfrm>
            <a:off x="0" y="3429000"/>
            <a:ext cx="24384000" cy="10287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1143000"/>
            <a:ext cx="22860000" cy="1905000"/>
          </a:xfrm>
        </p:spPr>
        <p:txBody>
          <a:bodyPr>
            <a:noAutofit/>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762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9" name="Text Placeholder 23"/>
          <p:cNvSpPr>
            <a:spLocks noGrp="1"/>
          </p:cNvSpPr>
          <p:nvPr>
            <p:ph type="body" sz="quarter" idx="14" hasCustomPrompt="1"/>
          </p:nvPr>
        </p:nvSpPr>
        <p:spPr>
          <a:xfrm>
            <a:off x="762000" y="12237720"/>
            <a:ext cx="11049000" cy="76200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4" name="Group 13"/>
          <p:cNvGrpSpPr/>
          <p:nvPr userDrawn="1"/>
        </p:nvGrpSpPr>
        <p:grpSpPr>
          <a:xfrm>
            <a:off x="1524000" y="13166093"/>
            <a:ext cx="4522250" cy="367618"/>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7"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8"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37251778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0" y="3429000"/>
            <a:ext cx="4953000" cy="6096000"/>
          </a:xfrm>
        </p:spPr>
        <p:txBody>
          <a:bodyPr tIns="228600">
            <a:noAutofit/>
          </a:bodyPr>
          <a:lstStyle>
            <a:lvl1pPr>
              <a:defRPr>
                <a:latin typeface="IBM Plex Sans" charset="0"/>
                <a:ea typeface="IBM Plex Sans" charset="0"/>
                <a:cs typeface="IBM Plex Sans" charset="0"/>
              </a:defRPr>
            </a:lvl1p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8040" y="13030226"/>
            <a:ext cx="943530" cy="381002"/>
          </a:xfrm>
          <a:prstGeom prst="rect">
            <a:avLst/>
          </a:prstGeom>
        </p:spPr>
      </p:pic>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16" name="Text Placeholder 23"/>
          <p:cNvSpPr>
            <a:spLocks noGrp="1"/>
          </p:cNvSpPr>
          <p:nvPr>
            <p:ph type="body" sz="quarter" idx="14" hasCustomPrompt="1"/>
          </p:nvPr>
        </p:nvSpPr>
        <p:spPr>
          <a:xfrm>
            <a:off x="762000" y="12192000"/>
            <a:ext cx="5029200"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sp>
        <p:nvSpPr>
          <p:cNvPr id="66"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7"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8"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84061675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4" name="Rectangle 3"/>
          <p:cNvSpPr/>
          <p:nvPr userDrawn="1"/>
        </p:nvSpPr>
        <p:spPr>
          <a:xfrm>
            <a:off x="6096000" y="0"/>
            <a:ext cx="18288000" cy="137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762001" y="12192000"/>
            <a:ext cx="5029202"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12"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6"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7"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8"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29467014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3_2-8_Title and Cont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62000"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lumMod val="40000"/>
                    <a:lumOff val="60000"/>
                  </a:schemeClr>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762001" y="12192000"/>
            <a:ext cx="5029202"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sp>
        <p:nvSpPr>
          <p:cNvPr id="12"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4"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6"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22360733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4" name="Rectangle 3"/>
          <p:cNvSpPr/>
          <p:nvPr userDrawn="1"/>
        </p:nvSpPr>
        <p:spPr>
          <a:xfrm>
            <a:off x="6096000" y="0"/>
            <a:ext cx="18288000"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40" y="13030225"/>
            <a:ext cx="943530" cy="381000"/>
          </a:xfrm>
          <a:prstGeom prst="rect">
            <a:avLst/>
          </a:prstGeom>
        </p:spPr>
      </p:pic>
      <p:sp>
        <p:nvSpPr>
          <p:cNvPr id="13" name="Text Placeholder 23"/>
          <p:cNvSpPr>
            <a:spLocks noGrp="1"/>
          </p:cNvSpPr>
          <p:nvPr>
            <p:ph type="body" sz="quarter" idx="14" hasCustomPrompt="1"/>
          </p:nvPr>
        </p:nvSpPr>
        <p:spPr>
          <a:xfrm>
            <a:off x="762000" y="12192000"/>
            <a:ext cx="5029200"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sp>
        <p:nvSpPr>
          <p:cNvPr id="12"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tx1">
                    <a:alpha val="60000"/>
                  </a:schemeClr>
                </a:solidFill>
                <a:latin typeface="IBM Plex Sans" charset="0"/>
                <a:ea typeface="IBM Plex Sans" charset="0"/>
                <a:cs typeface="IBM Plex Sans" charset="0"/>
              </a:rPr>
              <a:t>IBM Services</a:t>
            </a:r>
          </a:p>
        </p:txBody>
      </p:sp>
      <p:sp>
        <p:nvSpPr>
          <p:cNvPr id="19" name="Content Placeholder 2"/>
          <p:cNvSpPr>
            <a:spLocks noGrp="1"/>
          </p:cNvSpPr>
          <p:nvPr>
            <p:ph idx="10"/>
          </p:nvPr>
        </p:nvSpPr>
        <p:spPr>
          <a:xfrm>
            <a:off x="12446000" y="3429000"/>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2"/>
          </p:nvPr>
        </p:nvSpPr>
        <p:spPr>
          <a:xfrm>
            <a:off x="6604000" y="3429000"/>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1" name="Content Placeholder 2"/>
          <p:cNvSpPr>
            <a:spLocks noGrp="1"/>
          </p:cNvSpPr>
          <p:nvPr>
            <p:ph idx="13"/>
          </p:nvPr>
        </p:nvSpPr>
        <p:spPr>
          <a:xfrm>
            <a:off x="18288000" y="3429000"/>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17254865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6722854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0"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762001" y="12192000"/>
            <a:ext cx="5029202"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pic>
        <p:nvPicPr>
          <p:cNvPr id="3" name="Graphic 2">
            <a:extLst>
              <a:ext uri="{FF2B5EF4-FFF2-40B4-BE49-F238E27FC236}">
                <a16:creationId xmlns:a16="http://schemas.microsoft.com/office/drawing/2014/main" id="{47D9B26A-1EBA-4087-A316-936D409491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631400" y="13031083"/>
            <a:ext cx="946997" cy="388585"/>
          </a:xfrm>
          <a:prstGeom prst="rect">
            <a:avLst/>
          </a:prstGeom>
        </p:spPr>
      </p:pic>
    </p:spTree>
    <p:extLst>
      <p:ext uri="{BB962C8B-B14F-4D97-AF65-F5344CB8AC3E}">
        <p14:creationId xmlns:p14="http://schemas.microsoft.com/office/powerpoint/2010/main" val="74659655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2-7_Title and Content">
    <p:spTree>
      <p:nvGrpSpPr>
        <p:cNvPr id="1" name=""/>
        <p:cNvGrpSpPr/>
        <p:nvPr/>
      </p:nvGrpSpPr>
      <p:grpSpPr>
        <a:xfrm>
          <a:off x="0" y="0"/>
          <a:ext cx="0" cy="0"/>
          <a:chOff x="0" y="0"/>
          <a:chExt cx="0" cy="0"/>
        </a:xfrm>
      </p:grpSpPr>
      <p:sp>
        <p:nvSpPr>
          <p:cNvPr id="4" name="Rectangle 3"/>
          <p:cNvSpPr/>
          <p:nvPr userDrawn="1"/>
        </p:nvSpPr>
        <p:spPr>
          <a:xfrm>
            <a:off x="6096000" y="0"/>
            <a:ext cx="18288000"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40" y="13030225"/>
            <a:ext cx="943530" cy="381000"/>
          </a:xfrm>
          <a:prstGeom prst="rect">
            <a:avLst/>
          </a:prstGeom>
        </p:spPr>
      </p:pic>
      <p:sp>
        <p:nvSpPr>
          <p:cNvPr id="13" name="Text Placeholder 23"/>
          <p:cNvSpPr>
            <a:spLocks noGrp="1"/>
          </p:cNvSpPr>
          <p:nvPr>
            <p:ph type="body" sz="quarter" idx="14" hasCustomPrompt="1"/>
          </p:nvPr>
        </p:nvSpPr>
        <p:spPr>
          <a:xfrm>
            <a:off x="762000" y="12192000"/>
            <a:ext cx="5029200"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sp>
        <p:nvSpPr>
          <p:cNvPr id="12"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tx1">
                    <a:alpha val="60000"/>
                  </a:schemeClr>
                </a:solidFill>
                <a:latin typeface="IBM Plex Sans" charset="0"/>
                <a:ea typeface="IBM Plex Sans" charset="0"/>
                <a:cs typeface="IBM Plex Sans" charset="0"/>
              </a:rPr>
              <a:t>IBM Services</a:t>
            </a:r>
          </a:p>
        </p:txBody>
      </p:sp>
    </p:spTree>
    <p:extLst>
      <p:ext uri="{BB962C8B-B14F-4D97-AF65-F5344CB8AC3E}">
        <p14:creationId xmlns:p14="http://schemas.microsoft.com/office/powerpoint/2010/main" val="199442127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2-8_Title and Content">
    <p:spTree>
      <p:nvGrpSpPr>
        <p:cNvPr id="1" name=""/>
        <p:cNvGrpSpPr/>
        <p:nvPr/>
      </p:nvGrpSpPr>
      <p:grpSpPr>
        <a:xfrm>
          <a:off x="0" y="0"/>
          <a:ext cx="0" cy="0"/>
          <a:chOff x="0" y="0"/>
          <a:chExt cx="0" cy="0"/>
        </a:xfrm>
      </p:grpSpPr>
      <p:sp>
        <p:nvSpPr>
          <p:cNvPr id="4" name="Rectangle 3"/>
          <p:cNvSpPr/>
          <p:nvPr userDrawn="1"/>
        </p:nvSpPr>
        <p:spPr>
          <a:xfrm>
            <a:off x="6096000" y="0"/>
            <a:ext cx="18288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40" y="13030225"/>
            <a:ext cx="943530" cy="381000"/>
          </a:xfrm>
          <a:prstGeom prst="rect">
            <a:avLst/>
          </a:prstGeom>
        </p:spPr>
      </p:pic>
      <p:sp>
        <p:nvSpPr>
          <p:cNvPr id="13" name="Text Placeholder 23"/>
          <p:cNvSpPr>
            <a:spLocks noGrp="1"/>
          </p:cNvSpPr>
          <p:nvPr>
            <p:ph type="body" sz="quarter" idx="14" hasCustomPrompt="1"/>
          </p:nvPr>
        </p:nvSpPr>
        <p:spPr>
          <a:xfrm>
            <a:off x="762001" y="12192000"/>
            <a:ext cx="5029202"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tx1">
                    <a:alpha val="60000"/>
                  </a:schemeClr>
                </a:solidFill>
                <a:latin typeface="IBM Plex Sans" charset="0"/>
                <a:ea typeface="IBM Plex Sans" charset="0"/>
                <a:cs typeface="IBM Plex Sans" charset="0"/>
              </a:rPr>
              <a:t>IBM Services</a:t>
            </a:r>
          </a:p>
        </p:txBody>
      </p:sp>
    </p:spTree>
    <p:extLst>
      <p:ext uri="{BB962C8B-B14F-4D97-AF65-F5344CB8AC3E}">
        <p14:creationId xmlns:p14="http://schemas.microsoft.com/office/powerpoint/2010/main" val="363646549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6" name="Rectangle 5"/>
          <p:cNvSpPr/>
          <p:nvPr userDrawn="1"/>
        </p:nvSpPr>
        <p:spPr>
          <a:xfrm flipH="1">
            <a:off x="0" y="2117"/>
            <a:ext cx="12192000"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1143000"/>
            <a:ext cx="10972800" cy="1905000"/>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58097"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125" name="Content Placeholder 2"/>
          <p:cNvSpPr>
            <a:spLocks noGrp="1"/>
          </p:cNvSpPr>
          <p:nvPr>
            <p:ph idx="1"/>
          </p:nvPr>
        </p:nvSpPr>
        <p:spPr>
          <a:xfrm>
            <a:off x="758097"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6" name="Content Placeholder 2"/>
          <p:cNvSpPr>
            <a:spLocks noGrp="1"/>
          </p:cNvSpPr>
          <p:nvPr>
            <p:ph idx="13"/>
          </p:nvPr>
        </p:nvSpPr>
        <p:spPr>
          <a:xfrm>
            <a:off x="12649200"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66172624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10_Title and Content">
    <p:spTree>
      <p:nvGrpSpPr>
        <p:cNvPr id="1" name=""/>
        <p:cNvGrpSpPr/>
        <p:nvPr/>
      </p:nvGrpSpPr>
      <p:grpSpPr>
        <a:xfrm>
          <a:off x="0" y="0"/>
          <a:ext cx="0" cy="0"/>
          <a:chOff x="0" y="0"/>
          <a:chExt cx="0" cy="0"/>
        </a:xfrm>
      </p:grpSpPr>
      <p:sp>
        <p:nvSpPr>
          <p:cNvPr id="4" name="Rectangle 3"/>
          <p:cNvSpPr/>
          <p:nvPr userDrawn="1"/>
        </p:nvSpPr>
        <p:spPr>
          <a:xfrm flipH="1">
            <a:off x="0" y="0"/>
            <a:ext cx="12192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solidFill>
                <a:schemeClr val="tx1"/>
              </a:solidFill>
              <a:latin typeface="Arial Regular" charset="0"/>
            </a:endParaRPr>
          </a:p>
        </p:txBody>
      </p:sp>
      <p:sp>
        <p:nvSpPr>
          <p:cNvPr id="2" name="Title 1"/>
          <p:cNvSpPr>
            <a:spLocks noGrp="1"/>
          </p:cNvSpPr>
          <p:nvPr>
            <p:ph type="title"/>
          </p:nvPr>
        </p:nvSpPr>
        <p:spPr/>
        <p:txBody>
          <a:bodyPr>
            <a:noAutofit/>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58097" y="12237720"/>
            <a:ext cx="10972800" cy="762000"/>
          </a:xfrm>
        </p:spPr>
        <p:txBody>
          <a:bodyPr tIns="0" anchor="b"/>
          <a:lstStyle>
            <a:lvl1pPr>
              <a:defRPr sz="1333" b="0">
                <a:solidFill>
                  <a:schemeClr val="tx1">
                    <a:alpha val="60000"/>
                  </a:schemeClr>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tx1">
                      <a:alpha val="60000"/>
                    </a:schemeClr>
                  </a:solidFill>
                  <a:latin typeface="IBM Plex Sans" charset="0"/>
                  <a:ea typeface="IBM Plex Sans" charset="0"/>
                  <a:cs typeface="IBM Plex Sans" charset="0"/>
                </a:rPr>
                <a:t>©</a:t>
              </a:r>
              <a:r>
                <a:rPr lang="en-US" sz="667" b="0" i="0" dirty="0">
                  <a:solidFill>
                    <a:schemeClr val="tx1">
                      <a:alpha val="60000"/>
                    </a:schemeClr>
                  </a:solidFill>
                  <a:latin typeface="IBM Plex Sans" charset="0"/>
                  <a:ea typeface="IBM Plex Sans" charset="0"/>
                  <a:cs typeface="IBM Plex Sans" charset="0"/>
                </a:rPr>
                <a:t> </a:t>
              </a:r>
              <a:r>
                <a:rPr lang="en-US" sz="1332" b="0" i="0" dirty="0">
                  <a:solidFill>
                    <a:schemeClr val="tx1">
                      <a:alpha val="60000"/>
                    </a:schemeClr>
                  </a:solidFill>
                  <a:latin typeface="IBM Plex Sans" charset="0"/>
                  <a:ea typeface="IBM Plex Sans" charset="0"/>
                  <a:cs typeface="IBM Plex Sans" charset="0"/>
                </a:rPr>
                <a:t>2018 IBM Corporation</a:t>
              </a:r>
              <a:r>
                <a:rPr lang="en-US" sz="1332" b="0" i="0" baseline="0" dirty="0">
                  <a:solidFill>
                    <a:schemeClr val="tx1">
                      <a:alpha val="60000"/>
                    </a:schemeClr>
                  </a:solidFill>
                  <a:latin typeface="IBM Plex Sans" charset="0"/>
                  <a:ea typeface="IBM Plex Sans" charset="0"/>
                  <a:cs typeface="IBM Plex Sans" charset="0"/>
                </a:rPr>
                <a:t>              </a:t>
              </a:r>
              <a:r>
                <a:rPr lang="en-US" sz="1332" b="0" i="0" dirty="0">
                  <a:solidFill>
                    <a:schemeClr val="tx1">
                      <a:alpha val="60000"/>
                    </a:schemeClr>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tx1">
                      <a:alpha val="60000"/>
                    </a:schemeClr>
                  </a:solidFill>
                  <a:latin typeface="IBM Plex Sans" charset="0"/>
                  <a:ea typeface="IBM Plex Sans" charset="0"/>
                  <a:cs typeface="IBM Plex Sans" charset="0"/>
                </a:rPr>
                <a:t> </a:t>
              </a:r>
              <a:fld id="{7C9968D1-C8E5-4FE3-AED4-7D4518C301B3}" type="datetime3">
                <a:rPr lang="en-US" sz="1332" b="0" i="0" smtClean="0">
                  <a:solidFill>
                    <a:schemeClr val="tx1">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tx1">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tx1">
                    <a:alpha val="60000"/>
                  </a:schemeClr>
                </a:solidFill>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tx1"/>
                </a:solidFill>
                <a:latin typeface="IBM Plex Sans" charset="0"/>
                <a:ea typeface="IBM Plex Sans" charset="0"/>
                <a:cs typeface="IBM Plex Sans" charset="0"/>
              </a:rPr>
              <a:pPr algn="l"/>
              <a:t>‹#›</a:t>
            </a:fld>
            <a:endParaRPr lang="en-US" sz="1333" b="0" i="0" dirty="0">
              <a:solidFill>
                <a:schemeClr val="tx1"/>
              </a:solidFill>
              <a:latin typeface="IBM Plex Sans" charset="0"/>
              <a:ea typeface="IBM Plex Sans" charset="0"/>
              <a:cs typeface="IBM Plex Sans" charset="0"/>
            </a:endParaRPr>
          </a:p>
        </p:txBody>
      </p:sp>
      <p:sp>
        <p:nvSpPr>
          <p:cNvPr id="72" name="Content Placeholder 2"/>
          <p:cNvSpPr>
            <a:spLocks noGrp="1"/>
          </p:cNvSpPr>
          <p:nvPr>
            <p:ph idx="1"/>
          </p:nvPr>
        </p:nvSpPr>
        <p:spPr>
          <a:xfrm>
            <a:off x="758097" y="3429000"/>
            <a:ext cx="10972800" cy="8763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3" name="Content Placeholder 2"/>
          <p:cNvSpPr>
            <a:spLocks noGrp="1"/>
          </p:cNvSpPr>
          <p:nvPr>
            <p:ph idx="13"/>
          </p:nvPr>
        </p:nvSpPr>
        <p:spPr>
          <a:xfrm>
            <a:off x="12649200"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380897662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2-10_Title and Content">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12192000"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58097" y="12237720"/>
            <a:ext cx="10972800" cy="762000"/>
          </a:xfrm>
        </p:spPr>
        <p:txBody>
          <a:bodyPr tIns="0" anchor="b"/>
          <a:lstStyle>
            <a:lvl1pPr>
              <a:defRPr sz="1333" b="0">
                <a:solidFill>
                  <a:schemeClr val="bg2"/>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bg2"/>
                  </a:solidFill>
                  <a:latin typeface="IBM Plex Sans" charset="0"/>
                  <a:ea typeface="IBM Plex Sans" charset="0"/>
                  <a:cs typeface="IBM Plex Sans" charset="0"/>
                </a:rPr>
                <a:t>©</a:t>
              </a:r>
              <a:r>
                <a:rPr lang="en-US" sz="667" b="0" i="0" dirty="0">
                  <a:solidFill>
                    <a:schemeClr val="bg2"/>
                  </a:solidFill>
                  <a:latin typeface="IBM Plex Sans" charset="0"/>
                  <a:ea typeface="IBM Plex Sans" charset="0"/>
                  <a:cs typeface="IBM Plex Sans" charset="0"/>
                </a:rPr>
                <a:t> </a:t>
              </a:r>
              <a:r>
                <a:rPr lang="en-US" sz="1332" b="0" i="0" dirty="0">
                  <a:solidFill>
                    <a:schemeClr val="bg2"/>
                  </a:solidFill>
                  <a:latin typeface="IBM Plex Sans" charset="0"/>
                  <a:ea typeface="IBM Plex Sans" charset="0"/>
                  <a:cs typeface="IBM Plex Sans" charset="0"/>
                </a:rPr>
                <a:t>2018 IBM Corporation</a:t>
              </a:r>
              <a:r>
                <a:rPr lang="en-US" sz="1332" b="0" i="0" baseline="0" dirty="0">
                  <a:solidFill>
                    <a:schemeClr val="bg2"/>
                  </a:solidFill>
                  <a:latin typeface="IBM Plex Sans" charset="0"/>
                  <a:ea typeface="IBM Plex Sans" charset="0"/>
                  <a:cs typeface="IBM Plex Sans" charset="0"/>
                </a:rPr>
                <a:t>              </a:t>
              </a:r>
              <a:r>
                <a:rPr lang="en-US" sz="1332" b="0" i="0" dirty="0">
                  <a:solidFill>
                    <a:schemeClr val="bg2"/>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solidFill>
                  <a:latin typeface="IBM Plex Sans" charset="0"/>
                  <a:ea typeface="IBM Plex Sans" charset="0"/>
                  <a:cs typeface="IBM Plex Sans" charset="0"/>
                </a:rPr>
                <a:t> </a:t>
              </a:r>
              <a:fld id="{7C9968D1-C8E5-4FE3-AED4-7D4518C301B3}" type="datetime3">
                <a:rPr lang="en-US" sz="1332"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bg2"/>
                </a:solidFill>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72" name="Content Placeholder 2"/>
          <p:cNvSpPr>
            <a:spLocks noGrp="1"/>
          </p:cNvSpPr>
          <p:nvPr>
            <p:ph idx="1"/>
          </p:nvPr>
        </p:nvSpPr>
        <p:spPr>
          <a:xfrm>
            <a:off x="758097"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12649200"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6736038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2-10_Title and Conten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12192000"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58097" y="12237720"/>
            <a:ext cx="10972800" cy="762000"/>
          </a:xfrm>
        </p:spPr>
        <p:txBody>
          <a:bodyPr tIns="0" anchor="b"/>
          <a:lstStyle>
            <a:lvl1pPr>
              <a:defRPr sz="1333" b="0">
                <a:solidFill>
                  <a:schemeClr val="bg2"/>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bg2"/>
                  </a:solidFill>
                  <a:latin typeface="IBM Plex Sans" charset="0"/>
                  <a:ea typeface="IBM Plex Sans" charset="0"/>
                  <a:cs typeface="IBM Plex Sans" charset="0"/>
                </a:rPr>
                <a:t>©</a:t>
              </a:r>
              <a:r>
                <a:rPr lang="en-US" sz="667" b="0" i="0" dirty="0">
                  <a:solidFill>
                    <a:schemeClr val="bg2"/>
                  </a:solidFill>
                  <a:latin typeface="IBM Plex Sans" charset="0"/>
                  <a:ea typeface="IBM Plex Sans" charset="0"/>
                  <a:cs typeface="IBM Plex Sans" charset="0"/>
                </a:rPr>
                <a:t> </a:t>
              </a:r>
              <a:r>
                <a:rPr lang="en-US" sz="1332" b="0" i="0" dirty="0">
                  <a:solidFill>
                    <a:schemeClr val="bg2"/>
                  </a:solidFill>
                  <a:latin typeface="IBM Plex Sans" charset="0"/>
                  <a:ea typeface="IBM Plex Sans" charset="0"/>
                  <a:cs typeface="IBM Plex Sans" charset="0"/>
                </a:rPr>
                <a:t>2018 IBM Corporation</a:t>
              </a:r>
              <a:r>
                <a:rPr lang="en-US" sz="1332" b="0" i="0" baseline="0" dirty="0">
                  <a:solidFill>
                    <a:schemeClr val="bg2"/>
                  </a:solidFill>
                  <a:latin typeface="IBM Plex Sans" charset="0"/>
                  <a:ea typeface="IBM Plex Sans" charset="0"/>
                  <a:cs typeface="IBM Plex Sans" charset="0"/>
                </a:rPr>
                <a:t>              </a:t>
              </a:r>
              <a:r>
                <a:rPr lang="en-US" sz="1332" b="0" i="0" dirty="0">
                  <a:solidFill>
                    <a:schemeClr val="bg2"/>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solidFill>
                  <a:latin typeface="IBM Plex Sans" charset="0"/>
                  <a:ea typeface="IBM Plex Sans" charset="0"/>
                  <a:cs typeface="IBM Plex Sans" charset="0"/>
                </a:rPr>
                <a:t> </a:t>
              </a:r>
              <a:fld id="{7C9968D1-C8E5-4FE3-AED4-7D4518C301B3}" type="datetime3">
                <a:rPr lang="en-US" sz="1332"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bg2"/>
                </a:solidFill>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72" name="Content Placeholder 2"/>
          <p:cNvSpPr>
            <a:spLocks noGrp="1"/>
          </p:cNvSpPr>
          <p:nvPr>
            <p:ph idx="1"/>
          </p:nvPr>
        </p:nvSpPr>
        <p:spPr>
          <a:xfrm>
            <a:off x="758097"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12649200" y="3429000"/>
            <a:ext cx="10972800" cy="8763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20" y="13030238"/>
            <a:ext cx="943530" cy="381000"/>
          </a:xfrm>
          <a:prstGeom prst="rect">
            <a:avLst/>
          </a:prstGeom>
        </p:spPr>
      </p:pic>
    </p:spTree>
    <p:extLst>
      <p:ext uri="{BB962C8B-B14F-4D97-AF65-F5344CB8AC3E}">
        <p14:creationId xmlns:p14="http://schemas.microsoft.com/office/powerpoint/2010/main" val="407699180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2-10_Title and Content">
    <p:bg>
      <p:bgPr>
        <a:solidFill>
          <a:schemeClr val="tx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12192000"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58097" y="12237720"/>
            <a:ext cx="10972800" cy="762000"/>
          </a:xfrm>
        </p:spPr>
        <p:txBody>
          <a:bodyPr tIns="0" anchor="b"/>
          <a:lstStyle>
            <a:lvl1pPr>
              <a:defRPr sz="1333" b="0">
                <a:solidFill>
                  <a:schemeClr val="bg2"/>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bg2"/>
                  </a:solidFill>
                  <a:latin typeface="IBM Plex Sans" charset="0"/>
                  <a:ea typeface="IBM Plex Sans" charset="0"/>
                  <a:cs typeface="IBM Plex Sans" charset="0"/>
                </a:rPr>
                <a:t>©</a:t>
              </a:r>
              <a:r>
                <a:rPr lang="en-US" sz="667" b="0" i="0" dirty="0">
                  <a:solidFill>
                    <a:schemeClr val="bg2"/>
                  </a:solidFill>
                  <a:latin typeface="IBM Plex Sans" charset="0"/>
                  <a:ea typeface="IBM Plex Sans" charset="0"/>
                  <a:cs typeface="IBM Plex Sans" charset="0"/>
                </a:rPr>
                <a:t> </a:t>
              </a:r>
              <a:r>
                <a:rPr lang="en-US" sz="1332" b="0" i="0" dirty="0">
                  <a:solidFill>
                    <a:schemeClr val="bg2"/>
                  </a:solidFill>
                  <a:latin typeface="IBM Plex Sans" charset="0"/>
                  <a:ea typeface="IBM Plex Sans" charset="0"/>
                  <a:cs typeface="IBM Plex Sans" charset="0"/>
                </a:rPr>
                <a:t>2018 IBM Corporation</a:t>
              </a:r>
              <a:r>
                <a:rPr lang="en-US" sz="1332" b="0" i="0" baseline="0" dirty="0">
                  <a:solidFill>
                    <a:schemeClr val="bg2"/>
                  </a:solidFill>
                  <a:latin typeface="IBM Plex Sans" charset="0"/>
                  <a:ea typeface="IBM Plex Sans" charset="0"/>
                  <a:cs typeface="IBM Plex Sans" charset="0"/>
                </a:rPr>
                <a:t>              </a:t>
              </a:r>
              <a:r>
                <a:rPr lang="en-US" sz="1332" b="0" i="0" dirty="0">
                  <a:solidFill>
                    <a:schemeClr val="bg2"/>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solidFill>
                  <a:latin typeface="IBM Plex Sans" charset="0"/>
                  <a:ea typeface="IBM Plex Sans" charset="0"/>
                  <a:cs typeface="IBM Plex Sans" charset="0"/>
                </a:rPr>
                <a:t> </a:t>
              </a:r>
              <a:fld id="{7C9968D1-C8E5-4FE3-AED4-7D4518C301B3}" type="datetime3">
                <a:rPr lang="en-US" sz="1332"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bg2"/>
                </a:solidFill>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72" name="Content Placeholder 2"/>
          <p:cNvSpPr>
            <a:spLocks noGrp="1"/>
          </p:cNvSpPr>
          <p:nvPr>
            <p:ph idx="1"/>
          </p:nvPr>
        </p:nvSpPr>
        <p:spPr>
          <a:xfrm>
            <a:off x="758097"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12649200" y="3429000"/>
            <a:ext cx="10972800" cy="8763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20" y="13030238"/>
            <a:ext cx="943530" cy="381000"/>
          </a:xfrm>
          <a:prstGeom prst="rect">
            <a:avLst/>
          </a:prstGeom>
        </p:spPr>
      </p:pic>
    </p:spTree>
    <p:extLst>
      <p:ext uri="{BB962C8B-B14F-4D97-AF65-F5344CB8AC3E}">
        <p14:creationId xmlns:p14="http://schemas.microsoft.com/office/powerpoint/2010/main" val="295131906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2-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1997" y="1143000"/>
            <a:ext cx="22860000" cy="1905000"/>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62000"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213007192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2-2_Title and Content">
    <p:bg>
      <p:bgPr>
        <a:solidFill>
          <a:schemeClr val="accent2"/>
        </a:solidFill>
        <a:effectLst/>
      </p:bgPr>
    </p:bg>
    <p:spTree>
      <p:nvGrpSpPr>
        <p:cNvPr id="1" name=""/>
        <p:cNvGrpSpPr/>
        <p:nvPr/>
      </p:nvGrpSpPr>
      <p:grpSpPr>
        <a:xfrm>
          <a:off x="0" y="0"/>
          <a:ext cx="0" cy="0"/>
          <a:chOff x="0" y="0"/>
          <a:chExt cx="0" cy="0"/>
        </a:xfrm>
      </p:grpSpPr>
      <p:sp>
        <p:nvSpPr>
          <p:cNvPr id="6" name="Rectangle 5"/>
          <p:cNvSpPr/>
          <p:nvPr userDrawn="1"/>
        </p:nvSpPr>
        <p:spPr>
          <a:xfrm>
            <a:off x="0" y="3429000"/>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lumMod val="40000"/>
                    <a:lumOff val="60000"/>
                  </a:schemeClr>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5" name="Text Placeholder 23"/>
          <p:cNvSpPr>
            <a:spLocks noGrp="1"/>
          </p:cNvSpPr>
          <p:nvPr>
            <p:ph type="body" sz="quarter" idx="12" hasCustomPrompt="1"/>
          </p:nvPr>
        </p:nvSpPr>
        <p:spPr>
          <a:xfrm>
            <a:off x="758097" y="12237720"/>
            <a:ext cx="10972800" cy="76200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6"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7"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18"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17638594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12192000" y="0"/>
            <a:ext cx="6096000" cy="6858001"/>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10"/>
          <p:cNvSpPr>
            <a:spLocks noGrp="1"/>
          </p:cNvSpPr>
          <p:nvPr>
            <p:ph sz="quarter" idx="18"/>
          </p:nvPr>
        </p:nvSpPr>
        <p:spPr>
          <a:xfrm>
            <a:off x="18288000" y="0"/>
            <a:ext cx="6096000" cy="6858001"/>
          </a:xfrm>
          <a:solidFill>
            <a:srgbClr val="031973"/>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13"/>
          <p:cNvSpPr>
            <a:spLocks noGrp="1"/>
          </p:cNvSpPr>
          <p:nvPr>
            <p:ph sz="quarter" idx="19"/>
          </p:nvPr>
        </p:nvSpPr>
        <p:spPr>
          <a:xfrm>
            <a:off x="12192000" y="6853768"/>
            <a:ext cx="12192000" cy="6862231"/>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548462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2-1_Title and Content">
    <p:spTree>
      <p:nvGrpSpPr>
        <p:cNvPr id="1" name=""/>
        <p:cNvGrpSpPr/>
        <p:nvPr/>
      </p:nvGrpSpPr>
      <p:grpSpPr>
        <a:xfrm>
          <a:off x="0" y="0"/>
          <a:ext cx="0" cy="0"/>
          <a:chOff x="0" y="0"/>
          <a:chExt cx="0" cy="0"/>
        </a:xfrm>
      </p:grpSpPr>
      <p:sp>
        <p:nvSpPr>
          <p:cNvPr id="6" name="Rectangle 5"/>
          <p:cNvSpPr/>
          <p:nvPr userDrawn="1"/>
        </p:nvSpPr>
        <p:spPr>
          <a:xfrm>
            <a:off x="0" y="3429000"/>
            <a:ext cx="24384000" cy="10287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latin typeface="IBM Plex Sans" charset="0"/>
                <a:ea typeface="IBM Plex Sans" charset="0"/>
                <a:cs typeface="IBM Plex Sans" charset="0"/>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758097"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124" name="Content Placeholder 2"/>
          <p:cNvSpPr>
            <a:spLocks noGrp="1"/>
          </p:cNvSpPr>
          <p:nvPr>
            <p:ph idx="1"/>
          </p:nvPr>
        </p:nvSpPr>
        <p:spPr>
          <a:xfrm>
            <a:off x="758097" y="3429000"/>
            <a:ext cx="228600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239813682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2-2_Title and Content">
    <p:bg>
      <p:bgPr>
        <a:solidFill>
          <a:schemeClr val="accent2"/>
        </a:solidFill>
        <a:effectLst/>
      </p:bgPr>
    </p:bg>
    <p:spTree>
      <p:nvGrpSpPr>
        <p:cNvPr id="1" name=""/>
        <p:cNvGrpSpPr/>
        <p:nvPr/>
      </p:nvGrpSpPr>
      <p:grpSpPr>
        <a:xfrm>
          <a:off x="0" y="0"/>
          <a:ext cx="0" cy="0"/>
          <a:chOff x="0" y="0"/>
          <a:chExt cx="0" cy="0"/>
        </a:xfrm>
      </p:grpSpPr>
      <p:sp>
        <p:nvSpPr>
          <p:cNvPr id="6" name="Rectangle 5"/>
          <p:cNvSpPr/>
          <p:nvPr userDrawn="1"/>
        </p:nvSpPr>
        <p:spPr>
          <a:xfrm>
            <a:off x="0" y="3429000"/>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lumMod val="40000"/>
                    <a:lumOff val="60000"/>
                  </a:schemeClr>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5" name="Text Placeholder 23"/>
          <p:cNvSpPr>
            <a:spLocks noGrp="1"/>
          </p:cNvSpPr>
          <p:nvPr>
            <p:ph type="body" sz="quarter" idx="12" hasCustomPrompt="1"/>
          </p:nvPr>
        </p:nvSpPr>
        <p:spPr>
          <a:xfrm>
            <a:off x="758097" y="12237720"/>
            <a:ext cx="10972800" cy="76200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6"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7"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22" name="Content Placeholder 2"/>
          <p:cNvSpPr>
            <a:spLocks noGrp="1"/>
          </p:cNvSpPr>
          <p:nvPr>
            <p:ph idx="1"/>
          </p:nvPr>
        </p:nvSpPr>
        <p:spPr>
          <a:xfrm>
            <a:off x="758097" y="3429000"/>
            <a:ext cx="228600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18"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54639031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20" name="Picture 19" descr="binary code bits.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597118" y="-1512"/>
            <a:ext cx="16846360" cy="13813536"/>
          </a:xfrm>
          <a:prstGeom prst="rect">
            <a:avLst/>
          </a:prstGeom>
        </p:spPr>
      </p:pic>
      <p:sp>
        <p:nvSpPr>
          <p:cNvPr id="17" name="Rectangle 16"/>
          <p:cNvSpPr/>
          <p:nvPr/>
        </p:nvSpPr>
        <p:spPr>
          <a:xfrm>
            <a:off x="10597025" y="13654"/>
            <a:ext cx="13846454" cy="13812024"/>
          </a:xfrm>
          <a:prstGeom prst="rect">
            <a:avLst/>
          </a:prstGeom>
          <a:solidFill>
            <a:schemeClr val="accent2">
              <a:alpha val="47000"/>
            </a:schemeClr>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pic>
        <p:nvPicPr>
          <p:cNvPr id="10" name="Picture 9" descr="ibmneg_white.eps"/>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803823" y="11799455"/>
            <a:ext cx="2777066" cy="1049866"/>
          </a:xfrm>
          <a:prstGeom prst="rect">
            <a:avLst/>
          </a:prstGeom>
        </p:spPr>
      </p:pic>
      <p:sp>
        <p:nvSpPr>
          <p:cNvPr id="21" name="Freeform 20"/>
          <p:cNvSpPr/>
          <p:nvPr/>
        </p:nvSpPr>
        <p:spPr>
          <a:xfrm>
            <a:off x="4" y="-15752"/>
            <a:ext cx="18982888" cy="13817600"/>
          </a:xfrm>
          <a:custGeom>
            <a:avLst/>
            <a:gdLst>
              <a:gd name="connsiteX0" fmla="*/ 0 w 4448629"/>
              <a:gd name="connsiteY0" fmla="*/ 5181600 h 5196114"/>
              <a:gd name="connsiteX1" fmla="*/ 7257 w 4448629"/>
              <a:gd name="connsiteY1" fmla="*/ 0 h 5196114"/>
              <a:gd name="connsiteX2" fmla="*/ 4448629 w 4448629"/>
              <a:gd name="connsiteY2" fmla="*/ 7257 h 5196114"/>
              <a:gd name="connsiteX3" fmla="*/ 2242457 w 4448629"/>
              <a:gd name="connsiteY3" fmla="*/ 5196114 h 5196114"/>
              <a:gd name="connsiteX4" fmla="*/ 0 w 4448629"/>
              <a:gd name="connsiteY4" fmla="*/ 5181600 h 5196114"/>
              <a:gd name="connsiteX0" fmla="*/ 0 w 6746443"/>
              <a:gd name="connsiteY0" fmla="*/ 5181600 h 5196114"/>
              <a:gd name="connsiteX1" fmla="*/ 7257 w 6746443"/>
              <a:gd name="connsiteY1" fmla="*/ 0 h 5196114"/>
              <a:gd name="connsiteX2" fmla="*/ 6746443 w 6746443"/>
              <a:gd name="connsiteY2" fmla="*/ 7257 h 5196114"/>
              <a:gd name="connsiteX3" fmla="*/ 2242457 w 6746443"/>
              <a:gd name="connsiteY3" fmla="*/ 5196114 h 5196114"/>
              <a:gd name="connsiteX4" fmla="*/ 0 w 6746443"/>
              <a:gd name="connsiteY4" fmla="*/ 5181600 h 5196114"/>
              <a:gd name="connsiteX0" fmla="*/ 0 w 6787792"/>
              <a:gd name="connsiteY0" fmla="*/ 5186157 h 5200671"/>
              <a:gd name="connsiteX1" fmla="*/ 7257 w 6787792"/>
              <a:gd name="connsiteY1" fmla="*/ 4557 h 5200671"/>
              <a:gd name="connsiteX2" fmla="*/ 6787792 w 6787792"/>
              <a:gd name="connsiteY2" fmla="*/ 0 h 5200671"/>
              <a:gd name="connsiteX3" fmla="*/ 2242457 w 6787792"/>
              <a:gd name="connsiteY3" fmla="*/ 5200671 h 5200671"/>
              <a:gd name="connsiteX4" fmla="*/ 0 w 6787792"/>
              <a:gd name="connsiteY4" fmla="*/ 5186157 h 5200671"/>
              <a:gd name="connsiteX0" fmla="*/ 0 w 7118583"/>
              <a:gd name="connsiteY0" fmla="*/ 5181600 h 5196114"/>
              <a:gd name="connsiteX1" fmla="*/ 7257 w 7118583"/>
              <a:gd name="connsiteY1" fmla="*/ 0 h 5196114"/>
              <a:gd name="connsiteX2" fmla="*/ 7118583 w 7118583"/>
              <a:gd name="connsiteY2" fmla="*/ 1350 h 5196114"/>
              <a:gd name="connsiteX3" fmla="*/ 2242457 w 7118583"/>
              <a:gd name="connsiteY3" fmla="*/ 5196114 h 5196114"/>
              <a:gd name="connsiteX4" fmla="*/ 0 w 7118583"/>
              <a:gd name="connsiteY4" fmla="*/ 5181600 h 5196114"/>
              <a:gd name="connsiteX0" fmla="*/ 0 w 7118583"/>
              <a:gd name="connsiteY0" fmla="*/ 5181600 h 5181600"/>
              <a:gd name="connsiteX1" fmla="*/ 7257 w 7118583"/>
              <a:gd name="connsiteY1" fmla="*/ 0 h 5181600"/>
              <a:gd name="connsiteX2" fmla="*/ 7118583 w 7118583"/>
              <a:gd name="connsiteY2" fmla="*/ 1350 h 5181600"/>
              <a:gd name="connsiteX3" fmla="*/ 4611155 w 7118583"/>
              <a:gd name="connsiteY3" fmla="*/ 5160672 h 5181600"/>
              <a:gd name="connsiteX4" fmla="*/ 0 w 7118583"/>
              <a:gd name="connsiteY4" fmla="*/ 5181600 h 5181600"/>
              <a:gd name="connsiteX0" fmla="*/ 0 w 7118583"/>
              <a:gd name="connsiteY0" fmla="*/ 5181600 h 5181600"/>
              <a:gd name="connsiteX1" fmla="*/ 7257 w 7118583"/>
              <a:gd name="connsiteY1" fmla="*/ 0 h 5181600"/>
              <a:gd name="connsiteX2" fmla="*/ 7118583 w 7118583"/>
              <a:gd name="connsiteY2" fmla="*/ 1350 h 5181600"/>
              <a:gd name="connsiteX3" fmla="*/ 4634783 w 7118583"/>
              <a:gd name="connsiteY3" fmla="*/ 5178393 h 5181600"/>
              <a:gd name="connsiteX4" fmla="*/ 0 w 7118583"/>
              <a:gd name="connsiteY4" fmla="*/ 5181600 h 518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8583" h="5181600">
                <a:moveTo>
                  <a:pt x="0" y="5181600"/>
                </a:moveTo>
                <a:lnTo>
                  <a:pt x="7257" y="0"/>
                </a:lnTo>
                <a:lnTo>
                  <a:pt x="7118583" y="1350"/>
                </a:lnTo>
                <a:lnTo>
                  <a:pt x="4634783" y="5178393"/>
                </a:lnTo>
                <a:lnTo>
                  <a:pt x="0" y="51816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43834" tIns="121916" rIns="243834" bIns="121916" rtlCol="0" anchor="ctr"/>
          <a:lstStyle/>
          <a:p>
            <a:pPr algn="ctr"/>
            <a:endParaRPr lang="en-US" sz="4800"/>
          </a:p>
        </p:txBody>
      </p:sp>
      <p:sp>
        <p:nvSpPr>
          <p:cNvPr id="12" name="TextBox 11"/>
          <p:cNvSpPr txBox="1"/>
          <p:nvPr/>
        </p:nvSpPr>
        <p:spPr>
          <a:xfrm>
            <a:off x="2967701" y="760178"/>
            <a:ext cx="8343514" cy="738656"/>
          </a:xfrm>
          <a:prstGeom prst="rect">
            <a:avLst/>
          </a:prstGeom>
          <a:noFill/>
        </p:spPr>
        <p:txBody>
          <a:bodyPr wrap="square" lIns="243834" tIns="121916" rIns="243834" bIns="121916" rtlCol="0">
            <a:spAutoFit/>
          </a:bodyPr>
          <a:lstStyle/>
          <a:p>
            <a:r>
              <a:rPr lang="en-US" sz="3200" dirty="0">
                <a:solidFill>
                  <a:srgbClr val="FFFFFF"/>
                </a:solidFill>
                <a:latin typeface="IBM Plex Sans"/>
                <a:cs typeface="IBM Plex Sans"/>
              </a:rPr>
              <a:t>IBM Hybrid Cloud Digital</a:t>
            </a:r>
          </a:p>
        </p:txBody>
      </p:sp>
      <p:pic>
        <p:nvPicPr>
          <p:cNvPr id="24" name="Picture 23" descr="Hybrid Cloud Digital Logo 7 white trns-0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610" y="42475"/>
            <a:ext cx="2815848" cy="2106326"/>
          </a:xfrm>
          <a:prstGeom prst="rect">
            <a:avLst/>
          </a:prstGeom>
        </p:spPr>
      </p:pic>
      <p:sp>
        <p:nvSpPr>
          <p:cNvPr id="25" name="Freeform 24"/>
          <p:cNvSpPr/>
          <p:nvPr/>
        </p:nvSpPr>
        <p:spPr>
          <a:xfrm>
            <a:off x="12297387" y="2"/>
            <a:ext cx="6904230" cy="13810104"/>
          </a:xfrm>
          <a:custGeom>
            <a:avLst/>
            <a:gdLst>
              <a:gd name="connsiteX0" fmla="*/ 0 w 4448629"/>
              <a:gd name="connsiteY0" fmla="*/ 5181600 h 5196114"/>
              <a:gd name="connsiteX1" fmla="*/ 7257 w 4448629"/>
              <a:gd name="connsiteY1" fmla="*/ 0 h 5196114"/>
              <a:gd name="connsiteX2" fmla="*/ 4448629 w 4448629"/>
              <a:gd name="connsiteY2" fmla="*/ 7257 h 5196114"/>
              <a:gd name="connsiteX3" fmla="*/ 2242457 w 4448629"/>
              <a:gd name="connsiteY3" fmla="*/ 5196114 h 5196114"/>
              <a:gd name="connsiteX4" fmla="*/ 0 w 4448629"/>
              <a:gd name="connsiteY4" fmla="*/ 5181600 h 5196114"/>
              <a:gd name="connsiteX0" fmla="*/ 0 w 6746443"/>
              <a:gd name="connsiteY0" fmla="*/ 5181600 h 5196114"/>
              <a:gd name="connsiteX1" fmla="*/ 7257 w 6746443"/>
              <a:gd name="connsiteY1" fmla="*/ 0 h 5196114"/>
              <a:gd name="connsiteX2" fmla="*/ 6746443 w 6746443"/>
              <a:gd name="connsiteY2" fmla="*/ 7257 h 5196114"/>
              <a:gd name="connsiteX3" fmla="*/ 2242457 w 6746443"/>
              <a:gd name="connsiteY3" fmla="*/ 5196114 h 5196114"/>
              <a:gd name="connsiteX4" fmla="*/ 0 w 6746443"/>
              <a:gd name="connsiteY4" fmla="*/ 5181600 h 5196114"/>
              <a:gd name="connsiteX0" fmla="*/ 0 w 6787792"/>
              <a:gd name="connsiteY0" fmla="*/ 5186157 h 5200671"/>
              <a:gd name="connsiteX1" fmla="*/ 7257 w 6787792"/>
              <a:gd name="connsiteY1" fmla="*/ 4557 h 5200671"/>
              <a:gd name="connsiteX2" fmla="*/ 6787792 w 6787792"/>
              <a:gd name="connsiteY2" fmla="*/ 0 h 5200671"/>
              <a:gd name="connsiteX3" fmla="*/ 2242457 w 6787792"/>
              <a:gd name="connsiteY3" fmla="*/ 5200671 h 5200671"/>
              <a:gd name="connsiteX4" fmla="*/ 0 w 6787792"/>
              <a:gd name="connsiteY4" fmla="*/ 5186157 h 5200671"/>
              <a:gd name="connsiteX0" fmla="*/ 0 w 7118583"/>
              <a:gd name="connsiteY0" fmla="*/ 5181600 h 5196114"/>
              <a:gd name="connsiteX1" fmla="*/ 7257 w 7118583"/>
              <a:gd name="connsiteY1" fmla="*/ 0 h 5196114"/>
              <a:gd name="connsiteX2" fmla="*/ 7118583 w 7118583"/>
              <a:gd name="connsiteY2" fmla="*/ 1350 h 5196114"/>
              <a:gd name="connsiteX3" fmla="*/ 2242457 w 7118583"/>
              <a:gd name="connsiteY3" fmla="*/ 5196114 h 5196114"/>
              <a:gd name="connsiteX4" fmla="*/ 0 w 7118583"/>
              <a:gd name="connsiteY4" fmla="*/ 5181600 h 5196114"/>
              <a:gd name="connsiteX0" fmla="*/ 0 w 7118583"/>
              <a:gd name="connsiteY0" fmla="*/ 5181600 h 5181600"/>
              <a:gd name="connsiteX1" fmla="*/ 7257 w 7118583"/>
              <a:gd name="connsiteY1" fmla="*/ 0 h 5181600"/>
              <a:gd name="connsiteX2" fmla="*/ 7118583 w 7118583"/>
              <a:gd name="connsiteY2" fmla="*/ 1350 h 5181600"/>
              <a:gd name="connsiteX3" fmla="*/ 4611155 w 7118583"/>
              <a:gd name="connsiteY3" fmla="*/ 5160672 h 5181600"/>
              <a:gd name="connsiteX4" fmla="*/ 0 w 7118583"/>
              <a:gd name="connsiteY4" fmla="*/ 5181600 h 5181600"/>
              <a:gd name="connsiteX0" fmla="*/ 0 w 7118583"/>
              <a:gd name="connsiteY0" fmla="*/ 5181600 h 5181600"/>
              <a:gd name="connsiteX1" fmla="*/ 7257 w 7118583"/>
              <a:gd name="connsiteY1" fmla="*/ 0 h 5181600"/>
              <a:gd name="connsiteX2" fmla="*/ 7118583 w 7118583"/>
              <a:gd name="connsiteY2" fmla="*/ 1350 h 5181600"/>
              <a:gd name="connsiteX3" fmla="*/ 4634783 w 7118583"/>
              <a:gd name="connsiteY3" fmla="*/ 5178393 h 5181600"/>
              <a:gd name="connsiteX4" fmla="*/ 0 w 7118583"/>
              <a:gd name="connsiteY4" fmla="*/ 5181600 h 5181600"/>
              <a:gd name="connsiteX0" fmla="*/ 4441175 w 7111326"/>
              <a:gd name="connsiteY0" fmla="*/ 5174735 h 5178393"/>
              <a:gd name="connsiteX1" fmla="*/ 0 w 7111326"/>
              <a:gd name="connsiteY1" fmla="*/ 0 h 5178393"/>
              <a:gd name="connsiteX2" fmla="*/ 7111326 w 7111326"/>
              <a:gd name="connsiteY2" fmla="*/ 1350 h 5178393"/>
              <a:gd name="connsiteX3" fmla="*/ 4627526 w 7111326"/>
              <a:gd name="connsiteY3" fmla="*/ 5178393 h 5178393"/>
              <a:gd name="connsiteX4" fmla="*/ 4441175 w 7111326"/>
              <a:gd name="connsiteY4" fmla="*/ 5174735 h 5178393"/>
              <a:gd name="connsiteX0" fmla="*/ 0 w 2670151"/>
              <a:gd name="connsiteY0" fmla="*/ 5173385 h 5177043"/>
              <a:gd name="connsiteX1" fmla="*/ 2492339 w 2670151"/>
              <a:gd name="connsiteY1" fmla="*/ 19245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515967 w 2670151"/>
              <a:gd name="connsiteY1" fmla="*/ 7431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474618 w 2670151"/>
              <a:gd name="connsiteY1" fmla="*/ 7431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492339 w 2670151"/>
              <a:gd name="connsiteY1" fmla="*/ 131478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468711 w 2670151"/>
              <a:gd name="connsiteY1" fmla="*/ 7432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89581 h 5193239"/>
              <a:gd name="connsiteX1" fmla="*/ 2468711 w 2670151"/>
              <a:gd name="connsiteY1" fmla="*/ 0 h 5193239"/>
              <a:gd name="connsiteX2" fmla="*/ 2670151 w 2670151"/>
              <a:gd name="connsiteY2" fmla="*/ 16196 h 5193239"/>
              <a:gd name="connsiteX3" fmla="*/ 186351 w 2670151"/>
              <a:gd name="connsiteY3" fmla="*/ 5193239 h 5193239"/>
              <a:gd name="connsiteX4" fmla="*/ 0 w 2670151"/>
              <a:gd name="connsiteY4" fmla="*/ 5189581 h 5193239"/>
              <a:gd name="connsiteX0" fmla="*/ 0 w 2670151"/>
              <a:gd name="connsiteY0" fmla="*/ 5173385 h 5177043"/>
              <a:gd name="connsiteX1" fmla="*/ 2468711 w 2670151"/>
              <a:gd name="connsiteY1" fmla="*/ 2974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582201 w 2670151"/>
              <a:gd name="connsiteY1" fmla="*/ 2974 h 5177043"/>
              <a:gd name="connsiteX2" fmla="*/ 2670151 w 2670151"/>
              <a:gd name="connsiteY2" fmla="*/ 0 h 5177043"/>
              <a:gd name="connsiteX3" fmla="*/ 186351 w 2670151"/>
              <a:gd name="connsiteY3" fmla="*/ 5177043 h 5177043"/>
              <a:gd name="connsiteX4" fmla="*/ 0 w 2670151"/>
              <a:gd name="connsiteY4" fmla="*/ 5173385 h 5177043"/>
              <a:gd name="connsiteX0" fmla="*/ 197351 w 2483800"/>
              <a:gd name="connsiteY0" fmla="*/ 5378747 h 5378747"/>
              <a:gd name="connsiteX1" fmla="*/ 2395850 w 2483800"/>
              <a:gd name="connsiteY1" fmla="*/ 2974 h 5378747"/>
              <a:gd name="connsiteX2" fmla="*/ 2483800 w 2483800"/>
              <a:gd name="connsiteY2" fmla="*/ 0 h 5378747"/>
              <a:gd name="connsiteX3" fmla="*/ 0 w 2483800"/>
              <a:gd name="connsiteY3" fmla="*/ 5177043 h 5378747"/>
              <a:gd name="connsiteX4" fmla="*/ 197351 w 2483800"/>
              <a:gd name="connsiteY4" fmla="*/ 5378747 h 5378747"/>
              <a:gd name="connsiteX0" fmla="*/ 0 w 2621512"/>
              <a:gd name="connsiteY0" fmla="*/ 5173385 h 5177043"/>
              <a:gd name="connsiteX1" fmla="*/ 2533562 w 2621512"/>
              <a:gd name="connsiteY1" fmla="*/ 2974 h 5177043"/>
              <a:gd name="connsiteX2" fmla="*/ 2621512 w 2621512"/>
              <a:gd name="connsiteY2" fmla="*/ 0 h 5177043"/>
              <a:gd name="connsiteX3" fmla="*/ 137712 w 2621512"/>
              <a:gd name="connsiteY3" fmla="*/ 5177043 h 5177043"/>
              <a:gd name="connsiteX4" fmla="*/ 0 w 2621512"/>
              <a:gd name="connsiteY4" fmla="*/ 5173385 h 5177043"/>
              <a:gd name="connsiteX0" fmla="*/ 0 w 2589086"/>
              <a:gd name="connsiteY0" fmla="*/ 5178789 h 5178789"/>
              <a:gd name="connsiteX1" fmla="*/ 2501136 w 2589086"/>
              <a:gd name="connsiteY1" fmla="*/ 2974 h 5178789"/>
              <a:gd name="connsiteX2" fmla="*/ 2589086 w 2589086"/>
              <a:gd name="connsiteY2" fmla="*/ 0 h 5178789"/>
              <a:gd name="connsiteX3" fmla="*/ 105286 w 2589086"/>
              <a:gd name="connsiteY3" fmla="*/ 5177043 h 5178789"/>
              <a:gd name="connsiteX4" fmla="*/ 0 w 2589086"/>
              <a:gd name="connsiteY4" fmla="*/ 5178789 h 5178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9086" h="5178789">
                <a:moveTo>
                  <a:pt x="0" y="5178789"/>
                </a:moveTo>
                <a:lnTo>
                  <a:pt x="2501136" y="2974"/>
                </a:lnTo>
                <a:lnTo>
                  <a:pt x="2589086" y="0"/>
                </a:lnTo>
                <a:lnTo>
                  <a:pt x="105286" y="5177043"/>
                </a:lnTo>
                <a:lnTo>
                  <a:pt x="0" y="5178789"/>
                </a:lnTo>
                <a:close/>
              </a:path>
            </a:pathLst>
          </a:custGeom>
          <a:solidFill>
            <a:schemeClr val="bg1"/>
          </a:solidFill>
          <a:ln>
            <a:solidFill>
              <a:schemeClr val="bg1"/>
            </a:solidFill>
          </a:ln>
          <a:effectLst>
            <a:outerShdw blurRad="46355" dist="86487" dir="6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243834" tIns="121916" rIns="243834" bIns="121916" rtlCol="0" anchor="ctr"/>
          <a:lstStyle/>
          <a:p>
            <a:pPr algn="ctr"/>
            <a:endParaRPr lang="en-US" sz="4800"/>
          </a:p>
        </p:txBody>
      </p:sp>
      <p:pic>
        <p:nvPicPr>
          <p:cNvPr id="11" name="Picture 10" descr="binary code bits.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597118" y="-1512"/>
            <a:ext cx="16846360" cy="13813536"/>
          </a:xfrm>
          <a:prstGeom prst="rect">
            <a:avLst/>
          </a:prstGeom>
        </p:spPr>
      </p:pic>
      <p:sp>
        <p:nvSpPr>
          <p:cNvPr id="13" name="Rectangle 12"/>
          <p:cNvSpPr/>
          <p:nvPr/>
        </p:nvSpPr>
        <p:spPr>
          <a:xfrm>
            <a:off x="10597025" y="13654"/>
            <a:ext cx="13846454" cy="13812024"/>
          </a:xfrm>
          <a:prstGeom prst="rect">
            <a:avLst/>
          </a:prstGeom>
          <a:solidFill>
            <a:schemeClr val="accent2">
              <a:alpha val="47000"/>
            </a:schemeClr>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pic>
        <p:nvPicPr>
          <p:cNvPr id="14" name="Picture 13" descr="ibmneg_white.eps"/>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803823" y="11799455"/>
            <a:ext cx="2777066" cy="1049866"/>
          </a:xfrm>
          <a:prstGeom prst="rect">
            <a:avLst/>
          </a:prstGeom>
        </p:spPr>
      </p:pic>
      <p:sp>
        <p:nvSpPr>
          <p:cNvPr id="15" name="Freeform 14"/>
          <p:cNvSpPr/>
          <p:nvPr/>
        </p:nvSpPr>
        <p:spPr>
          <a:xfrm>
            <a:off x="-128336" y="-15752"/>
            <a:ext cx="19111228" cy="13817600"/>
          </a:xfrm>
          <a:custGeom>
            <a:avLst/>
            <a:gdLst>
              <a:gd name="connsiteX0" fmla="*/ 0 w 4448629"/>
              <a:gd name="connsiteY0" fmla="*/ 5181600 h 5196114"/>
              <a:gd name="connsiteX1" fmla="*/ 7257 w 4448629"/>
              <a:gd name="connsiteY1" fmla="*/ 0 h 5196114"/>
              <a:gd name="connsiteX2" fmla="*/ 4448629 w 4448629"/>
              <a:gd name="connsiteY2" fmla="*/ 7257 h 5196114"/>
              <a:gd name="connsiteX3" fmla="*/ 2242457 w 4448629"/>
              <a:gd name="connsiteY3" fmla="*/ 5196114 h 5196114"/>
              <a:gd name="connsiteX4" fmla="*/ 0 w 4448629"/>
              <a:gd name="connsiteY4" fmla="*/ 5181600 h 5196114"/>
              <a:gd name="connsiteX0" fmla="*/ 0 w 6746443"/>
              <a:gd name="connsiteY0" fmla="*/ 5181600 h 5196114"/>
              <a:gd name="connsiteX1" fmla="*/ 7257 w 6746443"/>
              <a:gd name="connsiteY1" fmla="*/ 0 h 5196114"/>
              <a:gd name="connsiteX2" fmla="*/ 6746443 w 6746443"/>
              <a:gd name="connsiteY2" fmla="*/ 7257 h 5196114"/>
              <a:gd name="connsiteX3" fmla="*/ 2242457 w 6746443"/>
              <a:gd name="connsiteY3" fmla="*/ 5196114 h 5196114"/>
              <a:gd name="connsiteX4" fmla="*/ 0 w 6746443"/>
              <a:gd name="connsiteY4" fmla="*/ 5181600 h 5196114"/>
              <a:gd name="connsiteX0" fmla="*/ 0 w 6787792"/>
              <a:gd name="connsiteY0" fmla="*/ 5186157 h 5200671"/>
              <a:gd name="connsiteX1" fmla="*/ 7257 w 6787792"/>
              <a:gd name="connsiteY1" fmla="*/ 4557 h 5200671"/>
              <a:gd name="connsiteX2" fmla="*/ 6787792 w 6787792"/>
              <a:gd name="connsiteY2" fmla="*/ 0 h 5200671"/>
              <a:gd name="connsiteX3" fmla="*/ 2242457 w 6787792"/>
              <a:gd name="connsiteY3" fmla="*/ 5200671 h 5200671"/>
              <a:gd name="connsiteX4" fmla="*/ 0 w 6787792"/>
              <a:gd name="connsiteY4" fmla="*/ 5186157 h 5200671"/>
              <a:gd name="connsiteX0" fmla="*/ 0 w 7118583"/>
              <a:gd name="connsiteY0" fmla="*/ 5181600 h 5196114"/>
              <a:gd name="connsiteX1" fmla="*/ 7257 w 7118583"/>
              <a:gd name="connsiteY1" fmla="*/ 0 h 5196114"/>
              <a:gd name="connsiteX2" fmla="*/ 7118583 w 7118583"/>
              <a:gd name="connsiteY2" fmla="*/ 1350 h 5196114"/>
              <a:gd name="connsiteX3" fmla="*/ 2242457 w 7118583"/>
              <a:gd name="connsiteY3" fmla="*/ 5196114 h 5196114"/>
              <a:gd name="connsiteX4" fmla="*/ 0 w 7118583"/>
              <a:gd name="connsiteY4" fmla="*/ 5181600 h 5196114"/>
              <a:gd name="connsiteX0" fmla="*/ 0 w 7118583"/>
              <a:gd name="connsiteY0" fmla="*/ 5181600 h 5181600"/>
              <a:gd name="connsiteX1" fmla="*/ 7257 w 7118583"/>
              <a:gd name="connsiteY1" fmla="*/ 0 h 5181600"/>
              <a:gd name="connsiteX2" fmla="*/ 7118583 w 7118583"/>
              <a:gd name="connsiteY2" fmla="*/ 1350 h 5181600"/>
              <a:gd name="connsiteX3" fmla="*/ 4611155 w 7118583"/>
              <a:gd name="connsiteY3" fmla="*/ 5160672 h 5181600"/>
              <a:gd name="connsiteX4" fmla="*/ 0 w 7118583"/>
              <a:gd name="connsiteY4" fmla="*/ 5181600 h 5181600"/>
              <a:gd name="connsiteX0" fmla="*/ 0 w 7118583"/>
              <a:gd name="connsiteY0" fmla="*/ 5181600 h 5181600"/>
              <a:gd name="connsiteX1" fmla="*/ 7257 w 7118583"/>
              <a:gd name="connsiteY1" fmla="*/ 0 h 5181600"/>
              <a:gd name="connsiteX2" fmla="*/ 7118583 w 7118583"/>
              <a:gd name="connsiteY2" fmla="*/ 1350 h 5181600"/>
              <a:gd name="connsiteX3" fmla="*/ 4634783 w 7118583"/>
              <a:gd name="connsiteY3" fmla="*/ 5178393 h 5181600"/>
              <a:gd name="connsiteX4" fmla="*/ 0 w 7118583"/>
              <a:gd name="connsiteY4" fmla="*/ 5181600 h 518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8583" h="5181600">
                <a:moveTo>
                  <a:pt x="0" y="5181600"/>
                </a:moveTo>
                <a:lnTo>
                  <a:pt x="7257" y="0"/>
                </a:lnTo>
                <a:lnTo>
                  <a:pt x="7118583" y="1350"/>
                </a:lnTo>
                <a:lnTo>
                  <a:pt x="4634783" y="5178393"/>
                </a:lnTo>
                <a:lnTo>
                  <a:pt x="0" y="51816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43834" tIns="121916" rIns="243834" bIns="121916" rtlCol="0" anchor="ctr"/>
          <a:lstStyle/>
          <a:p>
            <a:pPr algn="ctr"/>
            <a:endParaRPr lang="en-US" sz="4800"/>
          </a:p>
        </p:txBody>
      </p:sp>
      <p:sp>
        <p:nvSpPr>
          <p:cNvPr id="16" name="TextBox 15"/>
          <p:cNvSpPr txBox="1"/>
          <p:nvPr/>
        </p:nvSpPr>
        <p:spPr>
          <a:xfrm>
            <a:off x="2967701" y="760178"/>
            <a:ext cx="8343514" cy="738656"/>
          </a:xfrm>
          <a:prstGeom prst="rect">
            <a:avLst/>
          </a:prstGeom>
          <a:noFill/>
        </p:spPr>
        <p:txBody>
          <a:bodyPr wrap="square" lIns="243834" tIns="121916" rIns="243834" bIns="121916" rtlCol="0">
            <a:spAutoFit/>
          </a:bodyPr>
          <a:lstStyle/>
          <a:p>
            <a:r>
              <a:rPr lang="en-US" sz="3200" dirty="0">
                <a:solidFill>
                  <a:srgbClr val="FFFFFF"/>
                </a:solidFill>
                <a:latin typeface="IBM Plex Sans"/>
                <a:cs typeface="IBM Plex Sans"/>
              </a:rPr>
              <a:t>IBM Hybrid Cloud Digital</a:t>
            </a:r>
          </a:p>
        </p:txBody>
      </p:sp>
      <p:pic>
        <p:nvPicPr>
          <p:cNvPr id="18" name="Picture 17" descr="Hybrid Cloud Digital Logo 7 white trns-0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610" y="42475"/>
            <a:ext cx="2815848" cy="2106326"/>
          </a:xfrm>
          <a:prstGeom prst="rect">
            <a:avLst/>
          </a:prstGeom>
        </p:spPr>
      </p:pic>
      <p:sp>
        <p:nvSpPr>
          <p:cNvPr id="19" name="Freeform 18"/>
          <p:cNvSpPr/>
          <p:nvPr/>
        </p:nvSpPr>
        <p:spPr>
          <a:xfrm>
            <a:off x="12297387" y="2"/>
            <a:ext cx="6904230" cy="13810104"/>
          </a:xfrm>
          <a:custGeom>
            <a:avLst/>
            <a:gdLst>
              <a:gd name="connsiteX0" fmla="*/ 0 w 4448629"/>
              <a:gd name="connsiteY0" fmla="*/ 5181600 h 5196114"/>
              <a:gd name="connsiteX1" fmla="*/ 7257 w 4448629"/>
              <a:gd name="connsiteY1" fmla="*/ 0 h 5196114"/>
              <a:gd name="connsiteX2" fmla="*/ 4448629 w 4448629"/>
              <a:gd name="connsiteY2" fmla="*/ 7257 h 5196114"/>
              <a:gd name="connsiteX3" fmla="*/ 2242457 w 4448629"/>
              <a:gd name="connsiteY3" fmla="*/ 5196114 h 5196114"/>
              <a:gd name="connsiteX4" fmla="*/ 0 w 4448629"/>
              <a:gd name="connsiteY4" fmla="*/ 5181600 h 5196114"/>
              <a:gd name="connsiteX0" fmla="*/ 0 w 6746443"/>
              <a:gd name="connsiteY0" fmla="*/ 5181600 h 5196114"/>
              <a:gd name="connsiteX1" fmla="*/ 7257 w 6746443"/>
              <a:gd name="connsiteY1" fmla="*/ 0 h 5196114"/>
              <a:gd name="connsiteX2" fmla="*/ 6746443 w 6746443"/>
              <a:gd name="connsiteY2" fmla="*/ 7257 h 5196114"/>
              <a:gd name="connsiteX3" fmla="*/ 2242457 w 6746443"/>
              <a:gd name="connsiteY3" fmla="*/ 5196114 h 5196114"/>
              <a:gd name="connsiteX4" fmla="*/ 0 w 6746443"/>
              <a:gd name="connsiteY4" fmla="*/ 5181600 h 5196114"/>
              <a:gd name="connsiteX0" fmla="*/ 0 w 6787792"/>
              <a:gd name="connsiteY0" fmla="*/ 5186157 h 5200671"/>
              <a:gd name="connsiteX1" fmla="*/ 7257 w 6787792"/>
              <a:gd name="connsiteY1" fmla="*/ 4557 h 5200671"/>
              <a:gd name="connsiteX2" fmla="*/ 6787792 w 6787792"/>
              <a:gd name="connsiteY2" fmla="*/ 0 h 5200671"/>
              <a:gd name="connsiteX3" fmla="*/ 2242457 w 6787792"/>
              <a:gd name="connsiteY3" fmla="*/ 5200671 h 5200671"/>
              <a:gd name="connsiteX4" fmla="*/ 0 w 6787792"/>
              <a:gd name="connsiteY4" fmla="*/ 5186157 h 5200671"/>
              <a:gd name="connsiteX0" fmla="*/ 0 w 7118583"/>
              <a:gd name="connsiteY0" fmla="*/ 5181600 h 5196114"/>
              <a:gd name="connsiteX1" fmla="*/ 7257 w 7118583"/>
              <a:gd name="connsiteY1" fmla="*/ 0 h 5196114"/>
              <a:gd name="connsiteX2" fmla="*/ 7118583 w 7118583"/>
              <a:gd name="connsiteY2" fmla="*/ 1350 h 5196114"/>
              <a:gd name="connsiteX3" fmla="*/ 2242457 w 7118583"/>
              <a:gd name="connsiteY3" fmla="*/ 5196114 h 5196114"/>
              <a:gd name="connsiteX4" fmla="*/ 0 w 7118583"/>
              <a:gd name="connsiteY4" fmla="*/ 5181600 h 5196114"/>
              <a:gd name="connsiteX0" fmla="*/ 0 w 7118583"/>
              <a:gd name="connsiteY0" fmla="*/ 5181600 h 5181600"/>
              <a:gd name="connsiteX1" fmla="*/ 7257 w 7118583"/>
              <a:gd name="connsiteY1" fmla="*/ 0 h 5181600"/>
              <a:gd name="connsiteX2" fmla="*/ 7118583 w 7118583"/>
              <a:gd name="connsiteY2" fmla="*/ 1350 h 5181600"/>
              <a:gd name="connsiteX3" fmla="*/ 4611155 w 7118583"/>
              <a:gd name="connsiteY3" fmla="*/ 5160672 h 5181600"/>
              <a:gd name="connsiteX4" fmla="*/ 0 w 7118583"/>
              <a:gd name="connsiteY4" fmla="*/ 5181600 h 5181600"/>
              <a:gd name="connsiteX0" fmla="*/ 0 w 7118583"/>
              <a:gd name="connsiteY0" fmla="*/ 5181600 h 5181600"/>
              <a:gd name="connsiteX1" fmla="*/ 7257 w 7118583"/>
              <a:gd name="connsiteY1" fmla="*/ 0 h 5181600"/>
              <a:gd name="connsiteX2" fmla="*/ 7118583 w 7118583"/>
              <a:gd name="connsiteY2" fmla="*/ 1350 h 5181600"/>
              <a:gd name="connsiteX3" fmla="*/ 4634783 w 7118583"/>
              <a:gd name="connsiteY3" fmla="*/ 5178393 h 5181600"/>
              <a:gd name="connsiteX4" fmla="*/ 0 w 7118583"/>
              <a:gd name="connsiteY4" fmla="*/ 5181600 h 5181600"/>
              <a:gd name="connsiteX0" fmla="*/ 4441175 w 7111326"/>
              <a:gd name="connsiteY0" fmla="*/ 5174735 h 5178393"/>
              <a:gd name="connsiteX1" fmla="*/ 0 w 7111326"/>
              <a:gd name="connsiteY1" fmla="*/ 0 h 5178393"/>
              <a:gd name="connsiteX2" fmla="*/ 7111326 w 7111326"/>
              <a:gd name="connsiteY2" fmla="*/ 1350 h 5178393"/>
              <a:gd name="connsiteX3" fmla="*/ 4627526 w 7111326"/>
              <a:gd name="connsiteY3" fmla="*/ 5178393 h 5178393"/>
              <a:gd name="connsiteX4" fmla="*/ 4441175 w 7111326"/>
              <a:gd name="connsiteY4" fmla="*/ 5174735 h 5178393"/>
              <a:gd name="connsiteX0" fmla="*/ 0 w 2670151"/>
              <a:gd name="connsiteY0" fmla="*/ 5173385 h 5177043"/>
              <a:gd name="connsiteX1" fmla="*/ 2492339 w 2670151"/>
              <a:gd name="connsiteY1" fmla="*/ 19245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515967 w 2670151"/>
              <a:gd name="connsiteY1" fmla="*/ 7431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474618 w 2670151"/>
              <a:gd name="connsiteY1" fmla="*/ 7431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492339 w 2670151"/>
              <a:gd name="connsiteY1" fmla="*/ 131478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468711 w 2670151"/>
              <a:gd name="connsiteY1" fmla="*/ 7432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89581 h 5193239"/>
              <a:gd name="connsiteX1" fmla="*/ 2468711 w 2670151"/>
              <a:gd name="connsiteY1" fmla="*/ 0 h 5193239"/>
              <a:gd name="connsiteX2" fmla="*/ 2670151 w 2670151"/>
              <a:gd name="connsiteY2" fmla="*/ 16196 h 5193239"/>
              <a:gd name="connsiteX3" fmla="*/ 186351 w 2670151"/>
              <a:gd name="connsiteY3" fmla="*/ 5193239 h 5193239"/>
              <a:gd name="connsiteX4" fmla="*/ 0 w 2670151"/>
              <a:gd name="connsiteY4" fmla="*/ 5189581 h 5193239"/>
              <a:gd name="connsiteX0" fmla="*/ 0 w 2670151"/>
              <a:gd name="connsiteY0" fmla="*/ 5173385 h 5177043"/>
              <a:gd name="connsiteX1" fmla="*/ 2468711 w 2670151"/>
              <a:gd name="connsiteY1" fmla="*/ 2974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582201 w 2670151"/>
              <a:gd name="connsiteY1" fmla="*/ 2974 h 5177043"/>
              <a:gd name="connsiteX2" fmla="*/ 2670151 w 2670151"/>
              <a:gd name="connsiteY2" fmla="*/ 0 h 5177043"/>
              <a:gd name="connsiteX3" fmla="*/ 186351 w 2670151"/>
              <a:gd name="connsiteY3" fmla="*/ 5177043 h 5177043"/>
              <a:gd name="connsiteX4" fmla="*/ 0 w 2670151"/>
              <a:gd name="connsiteY4" fmla="*/ 5173385 h 5177043"/>
              <a:gd name="connsiteX0" fmla="*/ 197351 w 2483800"/>
              <a:gd name="connsiteY0" fmla="*/ 5378747 h 5378747"/>
              <a:gd name="connsiteX1" fmla="*/ 2395850 w 2483800"/>
              <a:gd name="connsiteY1" fmla="*/ 2974 h 5378747"/>
              <a:gd name="connsiteX2" fmla="*/ 2483800 w 2483800"/>
              <a:gd name="connsiteY2" fmla="*/ 0 h 5378747"/>
              <a:gd name="connsiteX3" fmla="*/ 0 w 2483800"/>
              <a:gd name="connsiteY3" fmla="*/ 5177043 h 5378747"/>
              <a:gd name="connsiteX4" fmla="*/ 197351 w 2483800"/>
              <a:gd name="connsiteY4" fmla="*/ 5378747 h 5378747"/>
              <a:gd name="connsiteX0" fmla="*/ 0 w 2621512"/>
              <a:gd name="connsiteY0" fmla="*/ 5173385 h 5177043"/>
              <a:gd name="connsiteX1" fmla="*/ 2533562 w 2621512"/>
              <a:gd name="connsiteY1" fmla="*/ 2974 h 5177043"/>
              <a:gd name="connsiteX2" fmla="*/ 2621512 w 2621512"/>
              <a:gd name="connsiteY2" fmla="*/ 0 h 5177043"/>
              <a:gd name="connsiteX3" fmla="*/ 137712 w 2621512"/>
              <a:gd name="connsiteY3" fmla="*/ 5177043 h 5177043"/>
              <a:gd name="connsiteX4" fmla="*/ 0 w 2621512"/>
              <a:gd name="connsiteY4" fmla="*/ 5173385 h 5177043"/>
              <a:gd name="connsiteX0" fmla="*/ 0 w 2589086"/>
              <a:gd name="connsiteY0" fmla="*/ 5178789 h 5178789"/>
              <a:gd name="connsiteX1" fmla="*/ 2501136 w 2589086"/>
              <a:gd name="connsiteY1" fmla="*/ 2974 h 5178789"/>
              <a:gd name="connsiteX2" fmla="*/ 2589086 w 2589086"/>
              <a:gd name="connsiteY2" fmla="*/ 0 h 5178789"/>
              <a:gd name="connsiteX3" fmla="*/ 105286 w 2589086"/>
              <a:gd name="connsiteY3" fmla="*/ 5177043 h 5178789"/>
              <a:gd name="connsiteX4" fmla="*/ 0 w 2589086"/>
              <a:gd name="connsiteY4" fmla="*/ 5178789 h 5178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9086" h="5178789">
                <a:moveTo>
                  <a:pt x="0" y="5178789"/>
                </a:moveTo>
                <a:lnTo>
                  <a:pt x="2501136" y="2974"/>
                </a:lnTo>
                <a:lnTo>
                  <a:pt x="2589086" y="0"/>
                </a:lnTo>
                <a:lnTo>
                  <a:pt x="105286" y="5177043"/>
                </a:lnTo>
                <a:lnTo>
                  <a:pt x="0" y="5178789"/>
                </a:lnTo>
                <a:close/>
              </a:path>
            </a:pathLst>
          </a:custGeom>
          <a:solidFill>
            <a:schemeClr val="bg1"/>
          </a:solidFill>
          <a:ln>
            <a:solidFill>
              <a:schemeClr val="bg1"/>
            </a:solidFill>
          </a:ln>
          <a:effectLst>
            <a:outerShdw blurRad="46355" dist="86487" dir="6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243834" tIns="121916" rIns="243834" bIns="121916" rtlCol="0" anchor="ctr"/>
          <a:lstStyle/>
          <a:p>
            <a:pPr algn="ctr"/>
            <a:endParaRPr lang="en-US" sz="4800"/>
          </a:p>
        </p:txBody>
      </p:sp>
      <p:sp>
        <p:nvSpPr>
          <p:cNvPr id="2" name="Title 1"/>
          <p:cNvSpPr>
            <a:spLocks noGrp="1"/>
          </p:cNvSpPr>
          <p:nvPr>
            <p:ph type="ctrTitle"/>
          </p:nvPr>
        </p:nvSpPr>
        <p:spPr>
          <a:xfrm>
            <a:off x="1080853" y="3653923"/>
            <a:ext cx="14555462" cy="2940050"/>
          </a:xfrm>
        </p:spPr>
        <p:txBody>
          <a:bodyPr>
            <a:normAutofit/>
          </a:bodyPr>
          <a:lstStyle>
            <a:lvl1pPr algn="l">
              <a:defRPr sz="6400">
                <a:solidFill>
                  <a:schemeClr val="bg1"/>
                </a:solidFill>
                <a:latin typeface="IBM Plex Sans"/>
                <a:cs typeface="IBM Plex Sans"/>
              </a:defRPr>
            </a:lvl1pPr>
          </a:lstStyle>
          <a:p>
            <a:r>
              <a:rPr lang="en-US"/>
              <a:t>Click to edit Master title style</a:t>
            </a:r>
            <a:endParaRPr lang="en-US" dirty="0"/>
          </a:p>
        </p:txBody>
      </p:sp>
      <p:sp>
        <p:nvSpPr>
          <p:cNvPr id="3" name="Subtitle 2"/>
          <p:cNvSpPr>
            <a:spLocks noGrp="1"/>
          </p:cNvSpPr>
          <p:nvPr>
            <p:ph type="subTitle" idx="1"/>
          </p:nvPr>
        </p:nvSpPr>
        <p:spPr>
          <a:xfrm>
            <a:off x="1136481" y="7926241"/>
            <a:ext cx="12577290" cy="2550906"/>
          </a:xfrm>
        </p:spPr>
        <p:txBody>
          <a:bodyPr>
            <a:normAutofit/>
          </a:bodyPr>
          <a:lstStyle>
            <a:lvl1pPr marL="0" indent="0" algn="l">
              <a:buNone/>
              <a:defRPr sz="4800">
                <a:solidFill>
                  <a:schemeClr val="bg1"/>
                </a:solidFill>
                <a:latin typeface="IBM Plex Sans"/>
                <a:cs typeface="IBM Plex Sans"/>
              </a:defRPr>
            </a:lvl1pPr>
            <a:lvl2pPr marL="1219170" indent="0" algn="ctr">
              <a:buNone/>
              <a:defRPr>
                <a:solidFill>
                  <a:schemeClr val="tx1">
                    <a:tint val="75000"/>
                  </a:schemeClr>
                </a:solidFill>
              </a:defRPr>
            </a:lvl2pPr>
            <a:lvl3pPr marL="2438340" indent="0" algn="ctr">
              <a:buNone/>
              <a:defRPr>
                <a:solidFill>
                  <a:schemeClr val="tx1">
                    <a:tint val="75000"/>
                  </a:schemeClr>
                </a:solidFill>
              </a:defRPr>
            </a:lvl3pPr>
            <a:lvl4pPr marL="3657508" indent="0" algn="ctr">
              <a:buNone/>
              <a:defRPr>
                <a:solidFill>
                  <a:schemeClr val="tx1">
                    <a:tint val="75000"/>
                  </a:schemeClr>
                </a:solidFill>
              </a:defRPr>
            </a:lvl4pPr>
            <a:lvl5pPr marL="4876678" indent="0" algn="ctr">
              <a:buNone/>
              <a:defRPr>
                <a:solidFill>
                  <a:schemeClr val="tx1">
                    <a:tint val="75000"/>
                  </a:schemeClr>
                </a:solidFill>
              </a:defRPr>
            </a:lvl5pPr>
            <a:lvl6pPr marL="6095848" indent="0" algn="ctr">
              <a:buNone/>
              <a:defRPr>
                <a:solidFill>
                  <a:schemeClr val="tx1">
                    <a:tint val="75000"/>
                  </a:schemeClr>
                </a:solidFill>
              </a:defRPr>
            </a:lvl6pPr>
            <a:lvl7pPr marL="7315018" indent="0" algn="ctr">
              <a:buNone/>
              <a:defRPr>
                <a:solidFill>
                  <a:schemeClr val="tx1">
                    <a:tint val="75000"/>
                  </a:schemeClr>
                </a:solidFill>
              </a:defRPr>
            </a:lvl7pPr>
            <a:lvl8pPr marL="8534186" indent="0" algn="ctr">
              <a:buNone/>
              <a:defRPr>
                <a:solidFill>
                  <a:schemeClr val="tx1">
                    <a:tint val="75000"/>
                  </a:schemeClr>
                </a:solidFill>
              </a:defRPr>
            </a:lvl8pPr>
            <a:lvl9pPr marL="97533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4732048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219200" y="2954329"/>
            <a:ext cx="22415408" cy="9298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2104BB4-88E0-9547-9C3D-EE95037318C2}" type="slidenum">
              <a:rPr lang="en-US" smtClean="0"/>
              <a:t>‹#›</a:t>
            </a:fld>
            <a:endParaRPr lang="en-US"/>
          </a:p>
        </p:txBody>
      </p:sp>
      <p:cxnSp>
        <p:nvCxnSpPr>
          <p:cNvPr id="5" name="Straight Connector 4"/>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7" name="Picture 6"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
        <p:nvSpPr>
          <p:cNvPr id="8" name="TextBox 7"/>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9" name="Straight Connector 8"/>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0" name="Picture 9"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
        <p:nvSpPr>
          <p:cNvPr id="11" name="TextBox 10"/>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spTree>
    <p:extLst>
      <p:ext uri="{BB962C8B-B14F-4D97-AF65-F5344CB8AC3E}">
        <p14:creationId xmlns:p14="http://schemas.microsoft.com/office/powerpoint/2010/main" val="11323042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219200" y="245323"/>
            <a:ext cx="15569184" cy="1468310"/>
          </a:xfrm>
        </p:spPr>
        <p:txBody>
          <a:bodyPr/>
          <a:lstStyle>
            <a:lvl1pPr>
              <a:defRPr>
                <a:solidFill>
                  <a:srgbClr val="FFFFFF"/>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F2104BB4-88E0-9547-9C3D-EE95037318C2}" type="slidenum">
              <a:rPr lang="en-US" smtClean="0"/>
              <a:t>‹#›</a:t>
            </a:fld>
            <a:endParaRPr lang="en-US"/>
          </a:p>
        </p:txBody>
      </p:sp>
      <p:sp>
        <p:nvSpPr>
          <p:cNvPr id="4" name="TextBox 3"/>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sp>
        <p:nvSpPr>
          <p:cNvPr id="7" name="Content Placeholder 2"/>
          <p:cNvSpPr>
            <a:spLocks noGrp="1"/>
          </p:cNvSpPr>
          <p:nvPr>
            <p:ph idx="1"/>
          </p:nvPr>
        </p:nvSpPr>
        <p:spPr>
          <a:xfrm>
            <a:off x="1219200" y="2954329"/>
            <a:ext cx="22415408" cy="9298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68725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5" name="Rectangle 4"/>
          <p:cNvSpPr/>
          <p:nvPr/>
        </p:nvSpPr>
        <p:spPr>
          <a:xfrm>
            <a:off x="3891067" y="13654"/>
            <a:ext cx="20536162" cy="13812024"/>
          </a:xfrm>
          <a:prstGeom prst="rect">
            <a:avLst/>
          </a:prstGeom>
          <a:solidFill>
            <a:schemeClr val="accent2"/>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8" name="Rectangle 7"/>
          <p:cNvSpPr/>
          <p:nvPr/>
        </p:nvSpPr>
        <p:spPr>
          <a:xfrm>
            <a:off x="2" y="13654"/>
            <a:ext cx="3891064" cy="13812024"/>
          </a:xfrm>
          <a:prstGeom prst="rect">
            <a:avLst/>
          </a:prstGeom>
          <a:solidFill>
            <a:schemeClr val="accent1"/>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7" name="Rectangle 6"/>
          <p:cNvSpPr/>
          <p:nvPr/>
        </p:nvSpPr>
        <p:spPr>
          <a:xfrm>
            <a:off x="3891067" y="13654"/>
            <a:ext cx="20536162" cy="13812024"/>
          </a:xfrm>
          <a:prstGeom prst="rect">
            <a:avLst/>
          </a:prstGeom>
          <a:solidFill>
            <a:schemeClr val="accent2"/>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9" name="Rectangle 8"/>
          <p:cNvSpPr/>
          <p:nvPr/>
        </p:nvSpPr>
        <p:spPr>
          <a:xfrm>
            <a:off x="2" y="13654"/>
            <a:ext cx="3891064" cy="13812024"/>
          </a:xfrm>
          <a:prstGeom prst="rect">
            <a:avLst/>
          </a:prstGeom>
          <a:solidFill>
            <a:schemeClr val="accent1"/>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2" name="Title 1"/>
          <p:cNvSpPr>
            <a:spLocks noGrp="1"/>
          </p:cNvSpPr>
          <p:nvPr>
            <p:ph type="title"/>
          </p:nvPr>
        </p:nvSpPr>
        <p:spPr>
          <a:xfrm>
            <a:off x="4481941" y="8395875"/>
            <a:ext cx="16700682" cy="2724150"/>
          </a:xfrm>
        </p:spPr>
        <p:txBody>
          <a:bodyPr anchor="t">
            <a:noAutofit/>
          </a:bodyPr>
          <a:lstStyle>
            <a:lvl1pPr algn="l">
              <a:defRPr sz="8600" b="1" cap="all">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4481941" y="5395499"/>
            <a:ext cx="16700682" cy="3000374"/>
          </a:xfrm>
        </p:spPr>
        <p:txBody>
          <a:bodyPr anchor="b"/>
          <a:lstStyle>
            <a:lvl1pPr marL="0" indent="0">
              <a:buNone/>
              <a:defRPr sz="5400">
                <a:solidFill>
                  <a:schemeClr val="bg1"/>
                </a:solidFill>
              </a:defRPr>
            </a:lvl1pPr>
            <a:lvl2pPr marL="1219170" indent="0">
              <a:buNone/>
              <a:defRPr sz="4800">
                <a:solidFill>
                  <a:schemeClr val="tx1">
                    <a:tint val="75000"/>
                  </a:schemeClr>
                </a:solidFill>
              </a:defRPr>
            </a:lvl2pPr>
            <a:lvl3pPr marL="2438340" indent="0">
              <a:buNone/>
              <a:defRPr sz="4200">
                <a:solidFill>
                  <a:schemeClr val="tx1">
                    <a:tint val="75000"/>
                  </a:schemeClr>
                </a:solidFill>
              </a:defRPr>
            </a:lvl3pPr>
            <a:lvl4pPr marL="3657508" indent="0">
              <a:buNone/>
              <a:defRPr sz="3800">
                <a:solidFill>
                  <a:schemeClr val="tx1">
                    <a:tint val="75000"/>
                  </a:schemeClr>
                </a:solidFill>
              </a:defRPr>
            </a:lvl4pPr>
            <a:lvl5pPr marL="4876678" indent="0">
              <a:buNone/>
              <a:defRPr sz="3800">
                <a:solidFill>
                  <a:schemeClr val="tx1">
                    <a:tint val="75000"/>
                  </a:schemeClr>
                </a:solidFill>
              </a:defRPr>
            </a:lvl5pPr>
            <a:lvl6pPr marL="6095848" indent="0">
              <a:buNone/>
              <a:defRPr sz="3800">
                <a:solidFill>
                  <a:schemeClr val="tx1">
                    <a:tint val="75000"/>
                  </a:schemeClr>
                </a:solidFill>
              </a:defRPr>
            </a:lvl6pPr>
            <a:lvl7pPr marL="7315018" indent="0">
              <a:buNone/>
              <a:defRPr sz="3800">
                <a:solidFill>
                  <a:schemeClr val="tx1">
                    <a:tint val="75000"/>
                  </a:schemeClr>
                </a:solidFill>
              </a:defRPr>
            </a:lvl7pPr>
            <a:lvl8pPr marL="8534186" indent="0">
              <a:buNone/>
              <a:defRPr sz="3800">
                <a:solidFill>
                  <a:schemeClr val="tx1">
                    <a:tint val="75000"/>
                  </a:schemeClr>
                </a:solidFill>
              </a:defRPr>
            </a:lvl8pPr>
            <a:lvl9pPr marL="9753356" indent="0">
              <a:buNone/>
              <a:defRPr sz="38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2104BB4-88E0-9547-9C3D-EE95037318C2}" type="slidenum">
              <a:rPr lang="en-US" smtClean="0"/>
              <a:t>‹#›</a:t>
            </a:fld>
            <a:endParaRPr lang="en-US"/>
          </a:p>
        </p:txBody>
      </p:sp>
    </p:spTree>
    <p:extLst>
      <p:ext uri="{BB962C8B-B14F-4D97-AF65-F5344CB8AC3E}">
        <p14:creationId xmlns:p14="http://schemas.microsoft.com/office/powerpoint/2010/main" val="75331738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19200" y="3200403"/>
            <a:ext cx="10769600" cy="9051926"/>
          </a:xfrm>
        </p:spPr>
        <p:txBody>
          <a:bodyPr>
            <a:normAutofit/>
          </a:bodyPr>
          <a:lstStyle>
            <a:lvl1pPr>
              <a:defRPr sz="4200"/>
            </a:lvl1pPr>
            <a:lvl2pPr>
              <a:defRPr sz="3800"/>
            </a:lvl2pPr>
            <a:lvl3pPr>
              <a:defRPr sz="3200"/>
            </a:lvl3pPr>
            <a:lvl4pPr>
              <a:defRPr sz="3000"/>
            </a:lvl4pPr>
            <a:lvl5pPr>
              <a:defRPr sz="3000"/>
            </a:lvl5pPr>
            <a:lvl6pPr>
              <a:defRPr sz="4800"/>
            </a:lvl6pPr>
            <a:lvl7pPr>
              <a:defRPr sz="4800"/>
            </a:lvl7pPr>
            <a:lvl8pPr>
              <a:defRPr sz="4800"/>
            </a:lvl8pPr>
            <a:lvl9pPr>
              <a:defRPr sz="4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395200" y="3200403"/>
            <a:ext cx="10769600" cy="9051926"/>
          </a:xfrm>
        </p:spPr>
        <p:txBody>
          <a:bodyPr>
            <a:normAutofit/>
          </a:bodyPr>
          <a:lstStyle>
            <a:lvl1pPr>
              <a:defRPr sz="4200"/>
            </a:lvl1pPr>
            <a:lvl2pPr>
              <a:defRPr sz="3800"/>
            </a:lvl2pPr>
            <a:lvl3pPr>
              <a:defRPr sz="3200"/>
            </a:lvl3pPr>
            <a:lvl4pPr>
              <a:defRPr sz="3000"/>
            </a:lvl4pPr>
            <a:lvl5pPr>
              <a:defRPr sz="3000"/>
            </a:lvl5pPr>
            <a:lvl6pPr>
              <a:defRPr sz="4800"/>
            </a:lvl6pPr>
            <a:lvl7pPr>
              <a:defRPr sz="4800"/>
            </a:lvl7pPr>
            <a:lvl8pPr>
              <a:defRPr sz="4800"/>
            </a:lvl8pPr>
            <a:lvl9pPr>
              <a:defRPr sz="4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F2104BB4-88E0-9547-9C3D-EE95037318C2}" type="slidenum">
              <a:rPr lang="en-US" smtClean="0"/>
              <a:t>‹#›</a:t>
            </a:fld>
            <a:endParaRPr lang="en-US"/>
          </a:p>
        </p:txBody>
      </p:sp>
      <p:sp>
        <p:nvSpPr>
          <p:cNvPr id="8" name="TextBox 7"/>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10" name="Straight Connector 9"/>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1" name="Picture 10"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
        <p:nvSpPr>
          <p:cNvPr id="9" name="TextBox 8"/>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12" name="Straight Connector 11"/>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3" name="Picture 12"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Tree>
    <p:extLst>
      <p:ext uri="{BB962C8B-B14F-4D97-AF65-F5344CB8AC3E}">
        <p14:creationId xmlns:p14="http://schemas.microsoft.com/office/powerpoint/2010/main" val="369463467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219201" y="3070227"/>
            <a:ext cx="10773834" cy="1279526"/>
          </a:xfrm>
        </p:spPr>
        <p:txBody>
          <a:bodyPr anchor="b">
            <a:normAutofit/>
          </a:bodyPr>
          <a:lstStyle>
            <a:lvl1pPr marL="0" indent="0">
              <a:buNone/>
              <a:defRPr sz="4200" b="1"/>
            </a:lvl1pPr>
            <a:lvl2pPr marL="1219170" indent="0">
              <a:buNone/>
              <a:defRPr sz="5400" b="1"/>
            </a:lvl2pPr>
            <a:lvl3pPr marL="2438340" indent="0">
              <a:buNone/>
              <a:defRPr sz="4800" b="1"/>
            </a:lvl3pPr>
            <a:lvl4pPr marL="3657508" indent="0">
              <a:buNone/>
              <a:defRPr sz="4200" b="1"/>
            </a:lvl4pPr>
            <a:lvl5pPr marL="4876678" indent="0">
              <a:buNone/>
              <a:defRPr sz="4200" b="1"/>
            </a:lvl5pPr>
            <a:lvl6pPr marL="6095848" indent="0">
              <a:buNone/>
              <a:defRPr sz="4200" b="1"/>
            </a:lvl6pPr>
            <a:lvl7pPr marL="7315018" indent="0">
              <a:buNone/>
              <a:defRPr sz="4200" b="1"/>
            </a:lvl7pPr>
            <a:lvl8pPr marL="8534186" indent="0">
              <a:buNone/>
              <a:defRPr sz="4200" b="1"/>
            </a:lvl8pPr>
            <a:lvl9pPr marL="9753356" indent="0">
              <a:buNone/>
              <a:defRPr sz="4200" b="1"/>
            </a:lvl9pPr>
          </a:lstStyle>
          <a:p>
            <a:pPr lvl="0"/>
            <a:r>
              <a:rPr lang="en-US"/>
              <a:t>Click to edit Master text styles</a:t>
            </a:r>
          </a:p>
        </p:txBody>
      </p:sp>
      <p:sp>
        <p:nvSpPr>
          <p:cNvPr id="4" name="Content Placeholder 3"/>
          <p:cNvSpPr>
            <a:spLocks noGrp="1"/>
          </p:cNvSpPr>
          <p:nvPr>
            <p:ph sz="half" idx="2"/>
          </p:nvPr>
        </p:nvSpPr>
        <p:spPr>
          <a:xfrm>
            <a:off x="1219201" y="4349750"/>
            <a:ext cx="10773834" cy="7902576"/>
          </a:xfrm>
        </p:spPr>
        <p:txBody>
          <a:bodyPr>
            <a:normAutofit/>
          </a:bodyPr>
          <a:lstStyle>
            <a:lvl1pPr>
              <a:defRPr sz="4200"/>
            </a:lvl1pPr>
            <a:lvl2pPr>
              <a:defRPr sz="3800"/>
            </a:lvl2pPr>
            <a:lvl3pPr>
              <a:defRPr sz="3200"/>
            </a:lvl3pPr>
            <a:lvl4pPr>
              <a:defRPr sz="3000"/>
            </a:lvl4pPr>
            <a:lvl5pPr>
              <a:defRPr sz="3000"/>
            </a:lvl5pPr>
            <a:lvl6pPr>
              <a:defRPr sz="4200"/>
            </a:lvl6pPr>
            <a:lvl7pPr>
              <a:defRPr sz="4200"/>
            </a:lvl7pPr>
            <a:lvl8pPr>
              <a:defRPr sz="4200"/>
            </a:lvl8pPr>
            <a:lvl9pPr>
              <a:defRPr sz="4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12386739" y="3070227"/>
            <a:ext cx="10778066" cy="1279526"/>
          </a:xfrm>
        </p:spPr>
        <p:txBody>
          <a:bodyPr anchor="b">
            <a:normAutofit/>
          </a:bodyPr>
          <a:lstStyle>
            <a:lvl1pPr marL="0" indent="0">
              <a:buNone/>
              <a:defRPr sz="4200" b="1"/>
            </a:lvl1pPr>
            <a:lvl2pPr marL="1219170" indent="0">
              <a:buNone/>
              <a:defRPr sz="5400" b="1"/>
            </a:lvl2pPr>
            <a:lvl3pPr marL="2438340" indent="0">
              <a:buNone/>
              <a:defRPr sz="4800" b="1"/>
            </a:lvl3pPr>
            <a:lvl4pPr marL="3657508" indent="0">
              <a:buNone/>
              <a:defRPr sz="4200" b="1"/>
            </a:lvl4pPr>
            <a:lvl5pPr marL="4876678" indent="0">
              <a:buNone/>
              <a:defRPr sz="4200" b="1"/>
            </a:lvl5pPr>
            <a:lvl6pPr marL="6095848" indent="0">
              <a:buNone/>
              <a:defRPr sz="4200" b="1"/>
            </a:lvl6pPr>
            <a:lvl7pPr marL="7315018" indent="0">
              <a:buNone/>
              <a:defRPr sz="4200" b="1"/>
            </a:lvl7pPr>
            <a:lvl8pPr marL="8534186" indent="0">
              <a:buNone/>
              <a:defRPr sz="4200" b="1"/>
            </a:lvl8pPr>
            <a:lvl9pPr marL="9753356" indent="0">
              <a:buNone/>
              <a:defRPr sz="4200" b="1"/>
            </a:lvl9pPr>
          </a:lstStyle>
          <a:p>
            <a:pPr lvl="0"/>
            <a:r>
              <a:rPr lang="en-US"/>
              <a:t>Click to edit Master text styles</a:t>
            </a:r>
          </a:p>
        </p:txBody>
      </p:sp>
      <p:sp>
        <p:nvSpPr>
          <p:cNvPr id="6" name="Content Placeholder 5"/>
          <p:cNvSpPr>
            <a:spLocks noGrp="1"/>
          </p:cNvSpPr>
          <p:nvPr>
            <p:ph sz="quarter" idx="4"/>
          </p:nvPr>
        </p:nvSpPr>
        <p:spPr>
          <a:xfrm>
            <a:off x="12386739" y="4349750"/>
            <a:ext cx="10778066" cy="7902576"/>
          </a:xfrm>
        </p:spPr>
        <p:txBody>
          <a:bodyPr>
            <a:normAutofit/>
          </a:bodyPr>
          <a:lstStyle>
            <a:lvl1pPr>
              <a:defRPr sz="4200"/>
            </a:lvl1pPr>
            <a:lvl2pPr>
              <a:defRPr sz="3800"/>
            </a:lvl2pPr>
            <a:lvl3pPr>
              <a:defRPr sz="3200"/>
            </a:lvl3pPr>
            <a:lvl4pPr>
              <a:defRPr sz="3000"/>
            </a:lvl4pPr>
            <a:lvl5pPr>
              <a:defRPr sz="3000"/>
            </a:lvl5pPr>
            <a:lvl6pPr>
              <a:defRPr sz="4200"/>
            </a:lvl6pPr>
            <a:lvl7pPr>
              <a:defRPr sz="4200"/>
            </a:lvl7pPr>
            <a:lvl8pPr>
              <a:defRPr sz="4200"/>
            </a:lvl8pPr>
            <a:lvl9pPr>
              <a:defRPr sz="4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F2104BB4-88E0-9547-9C3D-EE95037318C2}" type="slidenum">
              <a:rPr lang="en-US" smtClean="0"/>
              <a:t>‹#›</a:t>
            </a:fld>
            <a:endParaRPr lang="en-US"/>
          </a:p>
        </p:txBody>
      </p:sp>
      <p:sp>
        <p:nvSpPr>
          <p:cNvPr id="10" name="TextBox 9"/>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11" name="Straight Connector 10"/>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2" name="Picture 11"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
        <p:nvSpPr>
          <p:cNvPr id="13" name="TextBox 12"/>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14" name="Straight Connector 13"/>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5" name="Picture 14"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Tree>
    <p:extLst>
      <p:ext uri="{BB962C8B-B14F-4D97-AF65-F5344CB8AC3E}">
        <p14:creationId xmlns:p14="http://schemas.microsoft.com/office/powerpoint/2010/main" val="214267572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F2104BB4-88E0-9547-9C3D-EE95037318C2}" type="slidenum">
              <a:rPr lang="en-US" smtClean="0"/>
              <a:t>‹#›</a:t>
            </a:fld>
            <a:endParaRPr lang="en-US"/>
          </a:p>
        </p:txBody>
      </p:sp>
      <p:sp>
        <p:nvSpPr>
          <p:cNvPr id="6" name="TextBox 5"/>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7" name="Straight Connector 6"/>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8" name="Picture 7"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
        <p:nvSpPr>
          <p:cNvPr id="9" name="TextBox 8"/>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10" name="Straight Connector 9"/>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1" name="Picture 10"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Tree>
    <p:extLst>
      <p:ext uri="{BB962C8B-B14F-4D97-AF65-F5344CB8AC3E}">
        <p14:creationId xmlns:p14="http://schemas.microsoft.com/office/powerpoint/2010/main" val="245680814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2104BB4-88E0-9547-9C3D-EE95037318C2}" type="slidenum">
              <a:rPr lang="en-US" smtClean="0"/>
              <a:t>‹#›</a:t>
            </a:fld>
            <a:endParaRPr lang="en-US"/>
          </a:p>
        </p:txBody>
      </p:sp>
    </p:spTree>
    <p:extLst>
      <p:ext uri="{BB962C8B-B14F-4D97-AF65-F5344CB8AC3E}">
        <p14:creationId xmlns:p14="http://schemas.microsoft.com/office/powerpoint/2010/main" val="34974469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12192000" y="0"/>
            <a:ext cx="6096000" cy="6858001"/>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0" y="-1"/>
            <a:ext cx="12192000" cy="6858003"/>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11" name="Content Placeholder 10"/>
          <p:cNvSpPr>
            <a:spLocks noGrp="1"/>
          </p:cNvSpPr>
          <p:nvPr>
            <p:ph sz="quarter" idx="18"/>
          </p:nvPr>
        </p:nvSpPr>
        <p:spPr>
          <a:xfrm>
            <a:off x="18288000" y="0"/>
            <a:ext cx="6096000" cy="6858001"/>
          </a:xfrm>
          <a:solidFill>
            <a:srgbClr val="031973"/>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13"/>
          <p:cNvSpPr>
            <a:spLocks noGrp="1"/>
          </p:cNvSpPr>
          <p:nvPr>
            <p:ph sz="quarter" idx="19"/>
          </p:nvPr>
        </p:nvSpPr>
        <p:spPr>
          <a:xfrm>
            <a:off x="12192000" y="6853768"/>
            <a:ext cx="12192000" cy="6862231"/>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6"/>
          <p:cNvSpPr>
            <a:spLocks noGrp="1"/>
          </p:cNvSpPr>
          <p:nvPr>
            <p:ph sz="quarter" idx="20"/>
          </p:nvPr>
        </p:nvSpPr>
        <p:spPr>
          <a:xfrm>
            <a:off x="0" y="6853768"/>
            <a:ext cx="12192000" cy="6862231"/>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5615385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6" name="Rectangle 5"/>
          <p:cNvSpPr/>
          <p:nvPr/>
        </p:nvSpPr>
        <p:spPr>
          <a:xfrm>
            <a:off x="1" y="13657"/>
            <a:ext cx="8906214" cy="13702346"/>
          </a:xfrm>
          <a:prstGeom prst="rect">
            <a:avLst/>
          </a:prstGeom>
          <a:solidFill>
            <a:schemeClr val="accent1"/>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3" name="Content Placeholder 2"/>
          <p:cNvSpPr>
            <a:spLocks noGrp="1"/>
          </p:cNvSpPr>
          <p:nvPr>
            <p:ph idx="1"/>
          </p:nvPr>
        </p:nvSpPr>
        <p:spPr>
          <a:xfrm>
            <a:off x="9533467" y="1124089"/>
            <a:ext cx="13631334" cy="11128242"/>
          </a:xfrm>
        </p:spPr>
        <p:txBody>
          <a:bodyPr>
            <a:normAutofit/>
          </a:bodyPr>
          <a:lstStyle>
            <a:lvl1pPr>
              <a:defRPr sz="6400"/>
            </a:lvl1pPr>
            <a:lvl2pPr>
              <a:defRPr sz="5400"/>
            </a:lvl2pPr>
            <a:lvl3pPr>
              <a:defRPr sz="4800"/>
            </a:lvl3pPr>
            <a:lvl4pPr>
              <a:defRPr sz="4200"/>
            </a:lvl4pPr>
            <a:lvl5pPr>
              <a:defRPr sz="4200"/>
            </a:lvl5pPr>
            <a:lvl6pPr>
              <a:defRPr sz="5400"/>
            </a:lvl6pPr>
            <a:lvl7pPr>
              <a:defRPr sz="5400"/>
            </a:lvl7pPr>
            <a:lvl8pPr>
              <a:defRPr sz="5400"/>
            </a:lvl8pPr>
            <a:lvl9pPr>
              <a:defRPr sz="5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F2104BB4-88E0-9547-9C3D-EE95037318C2}" type="slidenum">
              <a:rPr lang="en-US" smtClean="0"/>
              <a:t>‹#›</a:t>
            </a:fld>
            <a:endParaRPr lang="en-US"/>
          </a:p>
        </p:txBody>
      </p:sp>
      <p:sp>
        <p:nvSpPr>
          <p:cNvPr id="9" name="Rectangle 8"/>
          <p:cNvSpPr/>
          <p:nvPr/>
        </p:nvSpPr>
        <p:spPr>
          <a:xfrm>
            <a:off x="1" y="13657"/>
            <a:ext cx="8906214" cy="13702346"/>
          </a:xfrm>
          <a:prstGeom prst="rect">
            <a:avLst/>
          </a:prstGeom>
          <a:solidFill>
            <a:schemeClr val="accent1"/>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2" name="Title 1"/>
          <p:cNvSpPr>
            <a:spLocks noGrp="1"/>
          </p:cNvSpPr>
          <p:nvPr>
            <p:ph type="title"/>
          </p:nvPr>
        </p:nvSpPr>
        <p:spPr>
          <a:xfrm>
            <a:off x="518810" y="546099"/>
            <a:ext cx="7911832" cy="2324102"/>
          </a:xfrm>
        </p:spPr>
        <p:txBody>
          <a:bodyPr anchor="b"/>
          <a:lstStyle>
            <a:lvl1pPr algn="l">
              <a:defRPr sz="5400" b="1">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518810" y="3300199"/>
            <a:ext cx="7911832" cy="8952130"/>
          </a:xfrm>
        </p:spPr>
        <p:txBody>
          <a:bodyPr/>
          <a:lstStyle>
            <a:lvl1pPr marL="0" indent="0">
              <a:buNone/>
              <a:defRPr sz="3800">
                <a:solidFill>
                  <a:srgbClr val="FFFFFF"/>
                </a:solidFill>
              </a:defRPr>
            </a:lvl1pPr>
            <a:lvl2pPr marL="1219170" indent="0">
              <a:buNone/>
              <a:defRPr sz="3200"/>
            </a:lvl2pPr>
            <a:lvl3pPr marL="2438340" indent="0">
              <a:buNone/>
              <a:defRPr sz="2600"/>
            </a:lvl3pPr>
            <a:lvl4pPr marL="3657508" indent="0">
              <a:buNone/>
              <a:defRPr sz="2400"/>
            </a:lvl4pPr>
            <a:lvl5pPr marL="4876678" indent="0">
              <a:buNone/>
              <a:defRPr sz="2400"/>
            </a:lvl5pPr>
            <a:lvl6pPr marL="6095848" indent="0">
              <a:buNone/>
              <a:defRPr sz="2400"/>
            </a:lvl6pPr>
            <a:lvl7pPr marL="7315018" indent="0">
              <a:buNone/>
              <a:defRPr sz="2400"/>
            </a:lvl7pPr>
            <a:lvl8pPr marL="8534186" indent="0">
              <a:buNone/>
              <a:defRPr sz="2400"/>
            </a:lvl8pPr>
            <a:lvl9pPr marL="9753356" indent="0">
              <a:buNone/>
              <a:defRPr sz="2400"/>
            </a:lvl9pPr>
          </a:lstStyle>
          <a:p>
            <a:pPr lvl="0"/>
            <a:r>
              <a:rPr lang="en-US"/>
              <a:t>Click to edit Master text styles</a:t>
            </a:r>
          </a:p>
        </p:txBody>
      </p:sp>
      <p:sp>
        <p:nvSpPr>
          <p:cNvPr id="8" name="TextBox 7"/>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rgbClr val="FFFFFF"/>
                </a:solidFill>
                <a:latin typeface="IBM Plex Sans"/>
                <a:cs typeface="IBM Plex Sans"/>
              </a:rPr>
              <a:t>IBM Hybrid Cloud Digital</a:t>
            </a:r>
          </a:p>
        </p:txBody>
      </p:sp>
      <p:sp>
        <p:nvSpPr>
          <p:cNvPr id="10" name="TextBox 9"/>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rgbClr val="FFFFFF"/>
                </a:solidFill>
                <a:latin typeface="IBM Plex Sans"/>
                <a:cs typeface="IBM Plex Sans"/>
              </a:rPr>
              <a:t>IBM Hybrid Cloud Digital</a:t>
            </a:r>
          </a:p>
        </p:txBody>
      </p:sp>
    </p:spTree>
    <p:extLst>
      <p:ext uri="{BB962C8B-B14F-4D97-AF65-F5344CB8AC3E}">
        <p14:creationId xmlns:p14="http://schemas.microsoft.com/office/powerpoint/2010/main" val="383983055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18811" y="4048057"/>
            <a:ext cx="5980710" cy="2324102"/>
          </a:xfrm>
        </p:spPr>
        <p:txBody>
          <a:bodyPr anchor="b"/>
          <a:lstStyle>
            <a:lvl1pPr algn="l">
              <a:defRPr sz="5400" b="1">
                <a:solidFill>
                  <a:schemeClr val="tx1"/>
                </a:solidFill>
              </a:defRPr>
            </a:lvl1pPr>
          </a:lstStyle>
          <a:p>
            <a:r>
              <a:rPr lang="en-US"/>
              <a:t>Click to edit Master title style</a:t>
            </a:r>
          </a:p>
        </p:txBody>
      </p:sp>
      <p:sp>
        <p:nvSpPr>
          <p:cNvPr id="5" name="Text Placeholder 3"/>
          <p:cNvSpPr>
            <a:spLocks noGrp="1"/>
          </p:cNvSpPr>
          <p:nvPr>
            <p:ph type="body" sz="half" idx="2"/>
          </p:nvPr>
        </p:nvSpPr>
        <p:spPr>
          <a:xfrm>
            <a:off x="518811" y="6845391"/>
            <a:ext cx="5980710" cy="5406938"/>
          </a:xfrm>
        </p:spPr>
        <p:txBody>
          <a:bodyPr/>
          <a:lstStyle>
            <a:lvl1pPr marL="0" indent="0">
              <a:buNone/>
              <a:defRPr sz="3800">
                <a:solidFill>
                  <a:schemeClr val="tx1"/>
                </a:solidFill>
              </a:defRPr>
            </a:lvl1pPr>
            <a:lvl2pPr marL="1219170" indent="0">
              <a:buNone/>
              <a:defRPr sz="3200"/>
            </a:lvl2pPr>
            <a:lvl3pPr marL="2438340" indent="0">
              <a:buNone/>
              <a:defRPr sz="2600"/>
            </a:lvl3pPr>
            <a:lvl4pPr marL="3657508" indent="0">
              <a:buNone/>
              <a:defRPr sz="2400"/>
            </a:lvl4pPr>
            <a:lvl5pPr marL="4876678" indent="0">
              <a:buNone/>
              <a:defRPr sz="2400"/>
            </a:lvl5pPr>
            <a:lvl6pPr marL="6095848" indent="0">
              <a:buNone/>
              <a:defRPr sz="2400"/>
            </a:lvl6pPr>
            <a:lvl7pPr marL="7315018" indent="0">
              <a:buNone/>
              <a:defRPr sz="2400"/>
            </a:lvl7pPr>
            <a:lvl8pPr marL="8534186" indent="0">
              <a:buNone/>
              <a:defRPr sz="2400"/>
            </a:lvl8pPr>
            <a:lvl9pPr marL="9753356" indent="0">
              <a:buNone/>
              <a:defRPr sz="2400"/>
            </a:lvl9pPr>
          </a:lstStyle>
          <a:p>
            <a:pPr lvl="0"/>
            <a:r>
              <a:rPr lang="en-US"/>
              <a:t>Click to edit Master text styles</a:t>
            </a:r>
          </a:p>
        </p:txBody>
      </p:sp>
      <p:sp>
        <p:nvSpPr>
          <p:cNvPr id="6" name="Rectangle 5"/>
          <p:cNvSpPr/>
          <p:nvPr/>
        </p:nvSpPr>
        <p:spPr>
          <a:xfrm>
            <a:off x="518812" y="6413028"/>
            <a:ext cx="5980712" cy="391448"/>
          </a:xfrm>
          <a:prstGeom prst="rect">
            <a:avLst/>
          </a:prstGeom>
          <a:solidFill>
            <a:schemeClr val="accent3"/>
          </a:solidFill>
          <a:ln>
            <a:noFill/>
          </a:ln>
        </p:spPr>
        <p:style>
          <a:lnRef idx="3">
            <a:schemeClr val="lt1"/>
          </a:lnRef>
          <a:fillRef idx="1">
            <a:schemeClr val="dk1"/>
          </a:fillRef>
          <a:effectRef idx="1">
            <a:schemeClr val="dk1"/>
          </a:effectRef>
          <a:fontRef idx="minor">
            <a:schemeClr val="lt1"/>
          </a:fontRef>
        </p:style>
        <p:txBody>
          <a:bodyPr lIns="243834" tIns="121916" rIns="243834" bIns="121916" rtlCol="0" anchor="ctr"/>
          <a:lstStyle/>
          <a:p>
            <a:pPr algn="ctr"/>
            <a:endParaRPr lang="en-US" sz="4800"/>
          </a:p>
        </p:txBody>
      </p:sp>
      <p:sp>
        <p:nvSpPr>
          <p:cNvPr id="7" name="TextBox 6"/>
          <p:cNvSpPr txBox="1"/>
          <p:nvPr/>
        </p:nvSpPr>
        <p:spPr>
          <a:xfrm>
            <a:off x="257055" y="12821350"/>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pic>
        <p:nvPicPr>
          <p:cNvPr id="11" name="Picture 10" descr="binary code bits.jpg"/>
          <p:cNvPicPr>
            <a:picLocks/>
          </p:cNvPicPr>
          <p:nvPr/>
        </p:nvPicPr>
        <p:blipFill rotWithShape="1">
          <a:blip r:embed="rId2" cstate="screen">
            <a:extLst>
              <a:ext uri="{28A0092B-C50C-407E-A947-70E740481C1C}">
                <a14:useLocalDpi xmlns:a14="http://schemas.microsoft.com/office/drawing/2010/main"/>
              </a:ext>
            </a:extLst>
          </a:blip>
          <a:srcRect/>
          <a:stretch/>
        </p:blipFill>
        <p:spPr>
          <a:xfrm>
            <a:off x="6816587" y="-1510"/>
            <a:ext cx="17591894" cy="13741896"/>
          </a:xfrm>
          <a:prstGeom prst="rect">
            <a:avLst/>
          </a:prstGeom>
        </p:spPr>
      </p:pic>
      <p:sp>
        <p:nvSpPr>
          <p:cNvPr id="12" name="Rectangle 11"/>
          <p:cNvSpPr/>
          <p:nvPr/>
        </p:nvSpPr>
        <p:spPr>
          <a:xfrm>
            <a:off x="6816587" y="-1511"/>
            <a:ext cx="17591894" cy="13717514"/>
          </a:xfrm>
          <a:prstGeom prst="rect">
            <a:avLst/>
          </a:prstGeom>
          <a:solidFill>
            <a:schemeClr val="accent1">
              <a:alpha val="95000"/>
            </a:schemeClr>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18" name="Rectangle 17"/>
          <p:cNvSpPr/>
          <p:nvPr/>
        </p:nvSpPr>
        <p:spPr>
          <a:xfrm>
            <a:off x="518812" y="6413028"/>
            <a:ext cx="5980712" cy="391448"/>
          </a:xfrm>
          <a:prstGeom prst="rect">
            <a:avLst/>
          </a:prstGeom>
          <a:solidFill>
            <a:schemeClr val="accent3"/>
          </a:solidFill>
          <a:ln>
            <a:noFill/>
          </a:ln>
          <a:effectLst/>
        </p:spPr>
        <p:style>
          <a:lnRef idx="3">
            <a:schemeClr val="lt1"/>
          </a:lnRef>
          <a:fillRef idx="1">
            <a:schemeClr val="dk1"/>
          </a:fillRef>
          <a:effectRef idx="1">
            <a:schemeClr val="dk1"/>
          </a:effectRef>
          <a:fontRef idx="minor">
            <a:schemeClr val="lt1"/>
          </a:fontRef>
        </p:style>
        <p:txBody>
          <a:bodyPr lIns="243834" tIns="121916" rIns="243834" bIns="121916" rtlCol="0" anchor="ctr"/>
          <a:lstStyle/>
          <a:p>
            <a:pPr algn="ctr"/>
            <a:endParaRPr lang="en-US" sz="4800"/>
          </a:p>
        </p:txBody>
      </p:sp>
      <p:sp>
        <p:nvSpPr>
          <p:cNvPr id="22" name="TextBox 21"/>
          <p:cNvSpPr txBox="1"/>
          <p:nvPr/>
        </p:nvSpPr>
        <p:spPr>
          <a:xfrm>
            <a:off x="257055" y="12821350"/>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pic>
        <p:nvPicPr>
          <p:cNvPr id="24" name="Picture 23" descr="binary code bits.jpg"/>
          <p:cNvPicPr>
            <a:picLocks/>
          </p:cNvPicPr>
          <p:nvPr/>
        </p:nvPicPr>
        <p:blipFill rotWithShape="1">
          <a:blip r:embed="rId2" cstate="screen">
            <a:extLst>
              <a:ext uri="{28A0092B-C50C-407E-A947-70E740481C1C}">
                <a14:useLocalDpi xmlns:a14="http://schemas.microsoft.com/office/drawing/2010/main"/>
              </a:ext>
            </a:extLst>
          </a:blip>
          <a:srcRect/>
          <a:stretch/>
        </p:blipFill>
        <p:spPr>
          <a:xfrm>
            <a:off x="6816587" y="-1510"/>
            <a:ext cx="17591894" cy="13741896"/>
          </a:xfrm>
          <a:prstGeom prst="rect">
            <a:avLst/>
          </a:prstGeom>
        </p:spPr>
      </p:pic>
      <p:sp>
        <p:nvSpPr>
          <p:cNvPr id="25" name="Rectangle 24"/>
          <p:cNvSpPr/>
          <p:nvPr/>
        </p:nvSpPr>
        <p:spPr>
          <a:xfrm>
            <a:off x="6816587" y="-1511"/>
            <a:ext cx="17591894" cy="13717514"/>
          </a:xfrm>
          <a:prstGeom prst="rect">
            <a:avLst/>
          </a:prstGeom>
          <a:solidFill>
            <a:schemeClr val="accent1">
              <a:alpha val="95000"/>
            </a:schemeClr>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13" name="Slide Number Placeholder 6"/>
          <p:cNvSpPr>
            <a:spLocks noGrp="1"/>
          </p:cNvSpPr>
          <p:nvPr>
            <p:ph type="sldNum" sz="quarter" idx="12"/>
          </p:nvPr>
        </p:nvSpPr>
        <p:spPr>
          <a:xfrm>
            <a:off x="17475200" y="12712703"/>
            <a:ext cx="5689600" cy="730250"/>
          </a:xfrm>
        </p:spPr>
        <p:txBody>
          <a:bodyPr/>
          <a:lstStyle>
            <a:lvl1pPr>
              <a:defRPr>
                <a:solidFill>
                  <a:schemeClr val="bg1"/>
                </a:solidFill>
              </a:defRPr>
            </a:lvl1pPr>
          </a:lstStyle>
          <a:p>
            <a:fld id="{F2104BB4-88E0-9547-9C3D-EE95037318C2}" type="slidenum">
              <a:rPr lang="en-US" smtClean="0"/>
              <a:t>‹#›</a:t>
            </a:fld>
            <a:endParaRPr lang="en-US"/>
          </a:p>
        </p:txBody>
      </p:sp>
      <p:sp>
        <p:nvSpPr>
          <p:cNvPr id="15" name="Picture Placeholder 14"/>
          <p:cNvSpPr>
            <a:spLocks noGrp="1"/>
          </p:cNvSpPr>
          <p:nvPr>
            <p:ph type="pic" sz="quarter" idx="13" hasCustomPrompt="1"/>
          </p:nvPr>
        </p:nvSpPr>
        <p:spPr>
          <a:xfrm>
            <a:off x="7475518" y="2188193"/>
            <a:ext cx="2855912" cy="2610774"/>
          </a:xfrm>
          <a:solidFill>
            <a:schemeClr val="accent2"/>
          </a:solidFill>
        </p:spPr>
        <p:txBody>
          <a:bodyPr>
            <a:normAutofit/>
          </a:bodyPr>
          <a:lstStyle>
            <a:lvl1pPr marL="0" indent="0">
              <a:buNone/>
              <a:defRPr sz="3200"/>
            </a:lvl1pPr>
          </a:lstStyle>
          <a:p>
            <a:r>
              <a:rPr lang="en-US" dirty="0"/>
              <a:t>Picture 1</a:t>
            </a:r>
          </a:p>
        </p:txBody>
      </p:sp>
      <p:sp>
        <p:nvSpPr>
          <p:cNvPr id="16" name="Picture Placeholder 14"/>
          <p:cNvSpPr>
            <a:spLocks noGrp="1"/>
          </p:cNvSpPr>
          <p:nvPr>
            <p:ph type="pic" sz="quarter" idx="14" hasCustomPrompt="1"/>
          </p:nvPr>
        </p:nvSpPr>
        <p:spPr>
          <a:xfrm>
            <a:off x="7475518" y="5514065"/>
            <a:ext cx="2855912" cy="2609714"/>
          </a:xfrm>
          <a:solidFill>
            <a:schemeClr val="accent2"/>
          </a:solidFill>
        </p:spPr>
        <p:txBody>
          <a:bodyPr>
            <a:normAutofit/>
          </a:bodyPr>
          <a:lstStyle>
            <a:lvl1pPr marL="0" indent="0">
              <a:buNone/>
              <a:defRPr sz="3200"/>
            </a:lvl1pPr>
          </a:lstStyle>
          <a:p>
            <a:r>
              <a:rPr lang="en-US" dirty="0"/>
              <a:t>Picture 2</a:t>
            </a:r>
          </a:p>
        </p:txBody>
      </p:sp>
      <p:sp>
        <p:nvSpPr>
          <p:cNvPr id="17" name="Picture Placeholder 14"/>
          <p:cNvSpPr>
            <a:spLocks noGrp="1"/>
          </p:cNvSpPr>
          <p:nvPr>
            <p:ph type="pic" sz="quarter" idx="15" hasCustomPrompt="1"/>
          </p:nvPr>
        </p:nvSpPr>
        <p:spPr>
          <a:xfrm>
            <a:off x="7475518" y="8763704"/>
            <a:ext cx="2855912" cy="2609712"/>
          </a:xfrm>
          <a:solidFill>
            <a:schemeClr val="accent2"/>
          </a:solidFill>
        </p:spPr>
        <p:txBody>
          <a:bodyPr>
            <a:normAutofit/>
          </a:bodyPr>
          <a:lstStyle>
            <a:lvl1pPr marL="0" indent="0">
              <a:buNone/>
              <a:defRPr sz="3200"/>
            </a:lvl1pPr>
          </a:lstStyle>
          <a:p>
            <a:r>
              <a:rPr lang="en-US" dirty="0"/>
              <a:t>Picture 3</a:t>
            </a:r>
          </a:p>
        </p:txBody>
      </p:sp>
      <p:sp>
        <p:nvSpPr>
          <p:cNvPr id="19" name="Text Placeholder 18"/>
          <p:cNvSpPr>
            <a:spLocks noGrp="1"/>
          </p:cNvSpPr>
          <p:nvPr>
            <p:ph type="body" sz="quarter" idx="16"/>
          </p:nvPr>
        </p:nvSpPr>
        <p:spPr>
          <a:xfrm>
            <a:off x="10591802" y="2189253"/>
            <a:ext cx="12573000" cy="2609714"/>
          </a:xfrm>
        </p:spPr>
        <p:txBody>
          <a:bodyPr>
            <a:noAutofit/>
          </a:bodyPr>
          <a:lstStyle>
            <a:lvl1pPr marL="0" indent="0">
              <a:buFont typeface="Arial"/>
              <a:buNone/>
              <a:defRPr sz="3800" b="1">
                <a:solidFill>
                  <a:schemeClr val="accent3"/>
                </a:solidFill>
              </a:defRPr>
            </a:lvl1pPr>
            <a:lvl2pPr marL="1062542" indent="-457188">
              <a:buFont typeface="Arial"/>
              <a:buChar char="•"/>
              <a:defRPr sz="3200" baseline="0">
                <a:solidFill>
                  <a:srgbClr val="FFFFFF"/>
                </a:solidFill>
              </a:defRPr>
            </a:lvl2pPr>
            <a:lvl3pPr marL="1223402" indent="0">
              <a:buNone/>
              <a:defRPr sz="3000"/>
            </a:lvl3pPr>
            <a:lvl4pPr marL="1828754" indent="0">
              <a:buNone/>
              <a:defRPr sz="2800"/>
            </a:lvl4pPr>
            <a:lvl5pPr marL="2434104" indent="0">
              <a:buNone/>
              <a:defRPr sz="2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7"/>
          </p:nvPr>
        </p:nvSpPr>
        <p:spPr>
          <a:xfrm>
            <a:off x="10591802" y="5514065"/>
            <a:ext cx="12573000" cy="2609714"/>
          </a:xfrm>
        </p:spPr>
        <p:txBody>
          <a:bodyPr>
            <a:noAutofit/>
          </a:bodyPr>
          <a:lstStyle>
            <a:lvl1pPr marL="0" indent="0">
              <a:buFont typeface="Arial"/>
              <a:buNone/>
              <a:defRPr sz="3800" b="1">
                <a:solidFill>
                  <a:schemeClr val="accent3"/>
                </a:solidFill>
              </a:defRPr>
            </a:lvl1pPr>
            <a:lvl2pPr marL="1062542" indent="-457188">
              <a:buFont typeface="Arial"/>
              <a:buChar char="•"/>
              <a:defRPr sz="3200" baseline="0">
                <a:solidFill>
                  <a:srgbClr val="FFFFFF"/>
                </a:solidFill>
              </a:defRPr>
            </a:lvl2pPr>
            <a:lvl3pPr marL="1223402" indent="0">
              <a:buNone/>
              <a:defRPr sz="3000"/>
            </a:lvl3pPr>
            <a:lvl4pPr marL="1828754" indent="0">
              <a:buNone/>
              <a:defRPr sz="2800"/>
            </a:lvl4pPr>
            <a:lvl5pPr marL="2434104" indent="0">
              <a:buNone/>
              <a:defRPr sz="2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8"/>
          <p:cNvSpPr>
            <a:spLocks noGrp="1"/>
          </p:cNvSpPr>
          <p:nvPr>
            <p:ph type="body" sz="quarter" idx="18"/>
          </p:nvPr>
        </p:nvSpPr>
        <p:spPr>
          <a:xfrm>
            <a:off x="10591802" y="8763705"/>
            <a:ext cx="12573000" cy="2609714"/>
          </a:xfrm>
        </p:spPr>
        <p:txBody>
          <a:bodyPr>
            <a:noAutofit/>
          </a:bodyPr>
          <a:lstStyle>
            <a:lvl1pPr marL="0" indent="0">
              <a:buFont typeface="Arial"/>
              <a:buNone/>
              <a:defRPr sz="3800" b="1">
                <a:solidFill>
                  <a:schemeClr val="accent3"/>
                </a:solidFill>
              </a:defRPr>
            </a:lvl1pPr>
            <a:lvl2pPr marL="1062542" indent="-457188">
              <a:buFont typeface="Arial"/>
              <a:buChar char="•"/>
              <a:defRPr sz="3200" baseline="0">
                <a:solidFill>
                  <a:srgbClr val="FFFFFF"/>
                </a:solidFill>
              </a:defRPr>
            </a:lvl2pPr>
            <a:lvl3pPr marL="1223402" indent="0">
              <a:buNone/>
              <a:defRPr sz="3000"/>
            </a:lvl3pPr>
            <a:lvl4pPr marL="1828754" indent="0">
              <a:buNone/>
              <a:defRPr sz="2800"/>
            </a:lvl4pPr>
            <a:lvl5pPr marL="2434104" indent="0">
              <a:buNone/>
              <a:defRPr sz="28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Hybrid Cloud Digital Logo 7 white trns-0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414704" y="177672"/>
            <a:ext cx="2380944" cy="1781008"/>
          </a:xfrm>
          <a:prstGeom prst="rect">
            <a:avLst/>
          </a:prstGeom>
        </p:spPr>
      </p:pic>
      <p:pic>
        <p:nvPicPr>
          <p:cNvPr id="26" name="Picture 25" descr="Hybrid Cloud Digital Logo 7 white trns-0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414704" y="177672"/>
            <a:ext cx="2380944" cy="1781008"/>
          </a:xfrm>
          <a:prstGeom prst="rect">
            <a:avLst/>
          </a:prstGeom>
        </p:spPr>
      </p:pic>
    </p:spTree>
    <p:extLst>
      <p:ext uri="{BB962C8B-B14F-4D97-AF65-F5344CB8AC3E}">
        <p14:creationId xmlns:p14="http://schemas.microsoft.com/office/powerpoint/2010/main" val="181562284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F2104BB4-88E0-9547-9C3D-EE95037318C2}" type="slidenum">
              <a:rPr lang="en-US" smtClean="0"/>
              <a:t>‹#›</a:t>
            </a:fld>
            <a:endParaRPr lang="en-US"/>
          </a:p>
        </p:txBody>
      </p:sp>
      <p:pic>
        <p:nvPicPr>
          <p:cNvPr id="4" name="Picture 3" descr="binary code bits.jpg"/>
          <p:cNvPicPr>
            <a:picLocks noChangeAspect="1"/>
          </p:cNvPicPr>
          <p:nvPr/>
        </p:nvPicPr>
        <p:blipFill rotWithShape="1">
          <a:blip r:embed="rId2" cstate="screen">
            <a:extLst>
              <a:ext uri="{28A0092B-C50C-407E-A947-70E740481C1C}">
                <a14:useLocalDpi xmlns:a14="http://schemas.microsoft.com/office/drawing/2010/main"/>
              </a:ext>
            </a:extLst>
          </a:blip>
          <a:srcRect t="-1" b="47676"/>
          <a:stretch/>
        </p:blipFill>
        <p:spPr>
          <a:xfrm>
            <a:off x="0" y="3"/>
            <a:ext cx="24384000" cy="7176850"/>
          </a:xfrm>
          <a:prstGeom prst="rect">
            <a:avLst/>
          </a:prstGeom>
        </p:spPr>
      </p:pic>
      <p:sp>
        <p:nvSpPr>
          <p:cNvPr id="5" name="Rectangle 4"/>
          <p:cNvSpPr/>
          <p:nvPr/>
        </p:nvSpPr>
        <p:spPr>
          <a:xfrm>
            <a:off x="0" y="-1511"/>
            <a:ext cx="24384000" cy="7178362"/>
          </a:xfrm>
          <a:prstGeom prst="rect">
            <a:avLst/>
          </a:prstGeom>
          <a:solidFill>
            <a:schemeClr val="accent1">
              <a:alpha val="95000"/>
            </a:schemeClr>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2" name="Title 1"/>
          <p:cNvSpPr>
            <a:spLocks noGrp="1"/>
          </p:cNvSpPr>
          <p:nvPr>
            <p:ph type="title"/>
          </p:nvPr>
        </p:nvSpPr>
        <p:spPr>
          <a:xfrm>
            <a:off x="685987" y="7943451"/>
            <a:ext cx="7368798" cy="1468310"/>
          </a:xfrm>
        </p:spPr>
        <p:txBody>
          <a:bodyPr>
            <a:normAutofit/>
          </a:bodyPr>
          <a:lstStyle>
            <a:lvl1pPr>
              <a:defRPr sz="4800"/>
            </a:lvl1pPr>
          </a:lstStyle>
          <a:p>
            <a:r>
              <a:rPr lang="en-US"/>
              <a:t>Click to edit Master title style</a:t>
            </a:r>
            <a:endParaRPr lang="en-US" dirty="0"/>
          </a:p>
        </p:txBody>
      </p:sp>
      <p:sp>
        <p:nvSpPr>
          <p:cNvPr id="7" name="Content Placeholder 6"/>
          <p:cNvSpPr>
            <a:spLocks noGrp="1"/>
          </p:cNvSpPr>
          <p:nvPr>
            <p:ph sz="quarter" idx="11"/>
          </p:nvPr>
        </p:nvSpPr>
        <p:spPr>
          <a:xfrm>
            <a:off x="8502697" y="7929037"/>
            <a:ext cx="15335206" cy="4580466"/>
          </a:xfrm>
        </p:spPr>
        <p:txBody>
          <a:bodyPr>
            <a:normAutofit/>
          </a:bodyPr>
          <a:lstStyle>
            <a:lvl1pPr>
              <a:defRPr sz="3800"/>
            </a:lvl1pPr>
            <a:lvl2pPr>
              <a:defRPr sz="3200"/>
            </a:lvl2pPr>
            <a:lvl3pPr>
              <a:defRPr sz="3000"/>
            </a:lvl3pPr>
            <a:lvl4pPr>
              <a:defRPr sz="2800"/>
            </a:lvl4pPr>
            <a:lvl5pPr>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p:nvSpPr>
        <p:spPr>
          <a:xfrm rot="5400000">
            <a:off x="5829981" y="10153841"/>
            <a:ext cx="4580466" cy="130858"/>
          </a:xfrm>
          <a:prstGeom prst="rect">
            <a:avLst/>
          </a:prstGeom>
          <a:solidFill>
            <a:schemeClr val="accent3"/>
          </a:solidFill>
          <a:ln>
            <a:noFill/>
          </a:ln>
          <a:effectLst/>
        </p:spPr>
        <p:style>
          <a:lnRef idx="3">
            <a:schemeClr val="lt1"/>
          </a:lnRef>
          <a:fillRef idx="1">
            <a:schemeClr val="dk1"/>
          </a:fillRef>
          <a:effectRef idx="1">
            <a:schemeClr val="dk1"/>
          </a:effectRef>
          <a:fontRef idx="minor">
            <a:schemeClr val="lt1"/>
          </a:fontRef>
        </p:style>
        <p:txBody>
          <a:bodyPr lIns="243834" tIns="121916" rIns="243834" bIns="121916" rtlCol="0" anchor="ctr"/>
          <a:lstStyle/>
          <a:p>
            <a:pPr algn="ctr"/>
            <a:endParaRPr lang="en-US" sz="4800"/>
          </a:p>
        </p:txBody>
      </p:sp>
      <p:sp>
        <p:nvSpPr>
          <p:cNvPr id="10" name="Chart Placeholder 9"/>
          <p:cNvSpPr>
            <a:spLocks noGrp="1"/>
          </p:cNvSpPr>
          <p:nvPr>
            <p:ph type="chart" sz="quarter" idx="12"/>
          </p:nvPr>
        </p:nvSpPr>
        <p:spPr>
          <a:xfrm>
            <a:off x="7666569" y="952502"/>
            <a:ext cx="9008534" cy="5359400"/>
          </a:xfrm>
        </p:spPr>
        <p:txBody>
          <a:bodyPr/>
          <a:lstStyle/>
          <a:p>
            <a:r>
              <a:rPr lang="en-US"/>
              <a:t>Click icon to add chart</a:t>
            </a:r>
          </a:p>
        </p:txBody>
      </p:sp>
    </p:spTree>
    <p:extLst>
      <p:ext uri="{BB962C8B-B14F-4D97-AF65-F5344CB8AC3E}">
        <p14:creationId xmlns:p14="http://schemas.microsoft.com/office/powerpoint/2010/main" val="187727352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79434" y="9601201"/>
            <a:ext cx="14630400" cy="1133478"/>
          </a:xfrm>
        </p:spPr>
        <p:txBody>
          <a:bodyPr anchor="b"/>
          <a:lstStyle>
            <a:lvl1pPr algn="l">
              <a:defRPr sz="5400" b="1"/>
            </a:lvl1pPr>
          </a:lstStyle>
          <a:p>
            <a:r>
              <a:rPr lang="en-US"/>
              <a:t>Click to edit Master title style</a:t>
            </a:r>
          </a:p>
        </p:txBody>
      </p:sp>
      <p:sp>
        <p:nvSpPr>
          <p:cNvPr id="3" name="Picture Placeholder 2"/>
          <p:cNvSpPr>
            <a:spLocks noGrp="1"/>
          </p:cNvSpPr>
          <p:nvPr>
            <p:ph type="pic" idx="1"/>
          </p:nvPr>
        </p:nvSpPr>
        <p:spPr>
          <a:xfrm>
            <a:off x="4779434" y="1225550"/>
            <a:ext cx="14630400" cy="8229600"/>
          </a:xfrm>
        </p:spPr>
        <p:txBody>
          <a:bodyPr/>
          <a:lstStyle>
            <a:lvl1pPr marL="0" indent="0">
              <a:buNone/>
              <a:defRPr sz="8600"/>
            </a:lvl1pPr>
            <a:lvl2pPr marL="1219170" indent="0">
              <a:buNone/>
              <a:defRPr sz="7400"/>
            </a:lvl2pPr>
            <a:lvl3pPr marL="2438340" indent="0">
              <a:buNone/>
              <a:defRPr sz="6400"/>
            </a:lvl3pPr>
            <a:lvl4pPr marL="3657508" indent="0">
              <a:buNone/>
              <a:defRPr sz="5400"/>
            </a:lvl4pPr>
            <a:lvl5pPr marL="4876678" indent="0">
              <a:buNone/>
              <a:defRPr sz="5400"/>
            </a:lvl5pPr>
            <a:lvl6pPr marL="6095848" indent="0">
              <a:buNone/>
              <a:defRPr sz="5400"/>
            </a:lvl6pPr>
            <a:lvl7pPr marL="7315018" indent="0">
              <a:buNone/>
              <a:defRPr sz="5400"/>
            </a:lvl7pPr>
            <a:lvl8pPr marL="8534186" indent="0">
              <a:buNone/>
              <a:defRPr sz="5400"/>
            </a:lvl8pPr>
            <a:lvl9pPr marL="9753356" indent="0">
              <a:buNone/>
              <a:defRPr sz="5400"/>
            </a:lvl9pPr>
          </a:lstStyle>
          <a:p>
            <a:r>
              <a:rPr lang="en-US"/>
              <a:t>Click icon to add picture</a:t>
            </a:r>
          </a:p>
        </p:txBody>
      </p:sp>
      <p:sp>
        <p:nvSpPr>
          <p:cNvPr id="4" name="Text Placeholder 3"/>
          <p:cNvSpPr>
            <a:spLocks noGrp="1"/>
          </p:cNvSpPr>
          <p:nvPr>
            <p:ph type="body" sz="half" idx="2"/>
          </p:nvPr>
        </p:nvSpPr>
        <p:spPr>
          <a:xfrm>
            <a:off x="4779434" y="10734677"/>
            <a:ext cx="14630400" cy="1609726"/>
          </a:xfrm>
        </p:spPr>
        <p:txBody>
          <a:bodyPr/>
          <a:lstStyle>
            <a:lvl1pPr marL="0" indent="0">
              <a:buNone/>
              <a:defRPr sz="3800"/>
            </a:lvl1pPr>
            <a:lvl2pPr marL="1219170" indent="0">
              <a:buNone/>
              <a:defRPr sz="3200"/>
            </a:lvl2pPr>
            <a:lvl3pPr marL="2438340" indent="0">
              <a:buNone/>
              <a:defRPr sz="2600"/>
            </a:lvl3pPr>
            <a:lvl4pPr marL="3657508" indent="0">
              <a:buNone/>
              <a:defRPr sz="2400"/>
            </a:lvl4pPr>
            <a:lvl5pPr marL="4876678" indent="0">
              <a:buNone/>
              <a:defRPr sz="2400"/>
            </a:lvl5pPr>
            <a:lvl6pPr marL="6095848" indent="0">
              <a:buNone/>
              <a:defRPr sz="2400"/>
            </a:lvl6pPr>
            <a:lvl7pPr marL="7315018" indent="0">
              <a:buNone/>
              <a:defRPr sz="2400"/>
            </a:lvl7pPr>
            <a:lvl8pPr marL="8534186" indent="0">
              <a:buNone/>
              <a:defRPr sz="2400"/>
            </a:lvl8pPr>
            <a:lvl9pPr marL="9753356" indent="0">
              <a:buNone/>
              <a:defRPr sz="24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F2104BB4-88E0-9547-9C3D-EE95037318C2}" type="slidenum">
              <a:rPr lang="en-US" smtClean="0"/>
              <a:t>‹#›</a:t>
            </a:fld>
            <a:endParaRPr lang="en-US"/>
          </a:p>
        </p:txBody>
      </p:sp>
      <p:pic>
        <p:nvPicPr>
          <p:cNvPr id="6" name="Picture 5"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201730" y="282212"/>
            <a:ext cx="2776568" cy="1852024"/>
          </a:xfrm>
          <a:prstGeom prst="rect">
            <a:avLst/>
          </a:prstGeom>
        </p:spPr>
      </p:pic>
      <p:sp>
        <p:nvSpPr>
          <p:cNvPr id="8" name="TextBox 7"/>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pic>
        <p:nvPicPr>
          <p:cNvPr id="9" name="Picture 8"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201730" y="282212"/>
            <a:ext cx="2776568" cy="1852024"/>
          </a:xfrm>
          <a:prstGeom prst="rect">
            <a:avLst/>
          </a:prstGeom>
        </p:spPr>
      </p:pic>
      <p:sp>
        <p:nvSpPr>
          <p:cNvPr id="10" name="TextBox 9"/>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spTree>
    <p:extLst>
      <p:ext uri="{BB962C8B-B14F-4D97-AF65-F5344CB8AC3E}">
        <p14:creationId xmlns:p14="http://schemas.microsoft.com/office/powerpoint/2010/main" val="202314495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F2104BB4-88E0-9547-9C3D-EE95037318C2}" type="slidenum">
              <a:rPr lang="en-US" smtClean="0"/>
              <a:t>‹#›</a:t>
            </a:fld>
            <a:endParaRPr lang="en-US"/>
          </a:p>
        </p:txBody>
      </p:sp>
    </p:spTree>
    <p:extLst>
      <p:ext uri="{BB962C8B-B14F-4D97-AF65-F5344CB8AC3E}">
        <p14:creationId xmlns:p14="http://schemas.microsoft.com/office/powerpoint/2010/main" val="298547102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678400" y="549279"/>
            <a:ext cx="5486400" cy="117030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9200" y="549279"/>
            <a:ext cx="16052800" cy="117030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F2104BB4-88E0-9547-9C3D-EE95037318C2}" type="slidenum">
              <a:rPr lang="en-US" smtClean="0"/>
              <a:t>‹#›</a:t>
            </a:fld>
            <a:endParaRPr lang="en-US"/>
          </a:p>
        </p:txBody>
      </p:sp>
    </p:spTree>
    <p:extLst>
      <p:ext uri="{BB962C8B-B14F-4D97-AF65-F5344CB8AC3E}">
        <p14:creationId xmlns:p14="http://schemas.microsoft.com/office/powerpoint/2010/main" val="384113107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18811" y="4048057"/>
            <a:ext cx="5980710" cy="2324102"/>
          </a:xfrm>
        </p:spPr>
        <p:txBody>
          <a:bodyPr anchor="b"/>
          <a:lstStyle>
            <a:lvl1pPr algn="l">
              <a:defRPr sz="5400" b="1">
                <a:solidFill>
                  <a:schemeClr val="tx1"/>
                </a:solidFill>
              </a:defRPr>
            </a:lvl1pPr>
          </a:lstStyle>
          <a:p>
            <a:r>
              <a:rPr lang="en-US"/>
              <a:t>Click to edit Master title style</a:t>
            </a:r>
          </a:p>
        </p:txBody>
      </p:sp>
      <p:sp>
        <p:nvSpPr>
          <p:cNvPr id="5" name="Text Placeholder 3"/>
          <p:cNvSpPr>
            <a:spLocks noGrp="1"/>
          </p:cNvSpPr>
          <p:nvPr>
            <p:ph type="body" sz="half" idx="2"/>
          </p:nvPr>
        </p:nvSpPr>
        <p:spPr>
          <a:xfrm>
            <a:off x="518811" y="6845391"/>
            <a:ext cx="5980710" cy="5406938"/>
          </a:xfrm>
        </p:spPr>
        <p:txBody>
          <a:bodyPr/>
          <a:lstStyle>
            <a:lvl1pPr marL="0" indent="0">
              <a:buNone/>
              <a:defRPr sz="3800">
                <a:solidFill>
                  <a:schemeClr val="tx1"/>
                </a:solidFill>
              </a:defRPr>
            </a:lvl1pPr>
            <a:lvl2pPr marL="1219170" indent="0">
              <a:buNone/>
              <a:defRPr sz="3200"/>
            </a:lvl2pPr>
            <a:lvl3pPr marL="2438340" indent="0">
              <a:buNone/>
              <a:defRPr sz="2600"/>
            </a:lvl3pPr>
            <a:lvl4pPr marL="3657508" indent="0">
              <a:buNone/>
              <a:defRPr sz="2400"/>
            </a:lvl4pPr>
            <a:lvl5pPr marL="4876678" indent="0">
              <a:buNone/>
              <a:defRPr sz="2400"/>
            </a:lvl5pPr>
            <a:lvl6pPr marL="6095848" indent="0">
              <a:buNone/>
              <a:defRPr sz="2400"/>
            </a:lvl6pPr>
            <a:lvl7pPr marL="7315018" indent="0">
              <a:buNone/>
              <a:defRPr sz="2400"/>
            </a:lvl7pPr>
            <a:lvl8pPr marL="8534186" indent="0">
              <a:buNone/>
              <a:defRPr sz="2400"/>
            </a:lvl8pPr>
            <a:lvl9pPr marL="9753356" indent="0">
              <a:buNone/>
              <a:defRPr sz="2400"/>
            </a:lvl9pPr>
          </a:lstStyle>
          <a:p>
            <a:pPr lvl="0"/>
            <a:r>
              <a:rPr lang="en-US"/>
              <a:t>Click to edit Master text styles</a:t>
            </a:r>
          </a:p>
        </p:txBody>
      </p:sp>
      <p:sp>
        <p:nvSpPr>
          <p:cNvPr id="6" name="Rectangle 5"/>
          <p:cNvSpPr/>
          <p:nvPr/>
        </p:nvSpPr>
        <p:spPr>
          <a:xfrm>
            <a:off x="518812" y="6413028"/>
            <a:ext cx="5980712" cy="391448"/>
          </a:xfrm>
          <a:prstGeom prst="rect">
            <a:avLst/>
          </a:prstGeom>
          <a:solidFill>
            <a:schemeClr val="accent3"/>
          </a:solidFill>
          <a:ln>
            <a:noFill/>
          </a:ln>
        </p:spPr>
        <p:style>
          <a:lnRef idx="3">
            <a:schemeClr val="lt1"/>
          </a:lnRef>
          <a:fillRef idx="1">
            <a:schemeClr val="dk1"/>
          </a:fillRef>
          <a:effectRef idx="1">
            <a:schemeClr val="dk1"/>
          </a:effectRef>
          <a:fontRef idx="minor">
            <a:schemeClr val="lt1"/>
          </a:fontRef>
        </p:style>
        <p:txBody>
          <a:bodyPr lIns="243834" tIns="121916" rIns="243834" bIns="121916" rtlCol="0" anchor="ctr"/>
          <a:lstStyle/>
          <a:p>
            <a:pPr algn="ctr"/>
            <a:endParaRPr lang="en-US" sz="4800"/>
          </a:p>
        </p:txBody>
      </p:sp>
      <p:sp>
        <p:nvSpPr>
          <p:cNvPr id="7" name="TextBox 6"/>
          <p:cNvSpPr txBox="1"/>
          <p:nvPr/>
        </p:nvSpPr>
        <p:spPr>
          <a:xfrm>
            <a:off x="257055" y="12821350"/>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pic>
        <p:nvPicPr>
          <p:cNvPr id="11" name="Picture 10" descr="binary code bits.jpg"/>
          <p:cNvPicPr>
            <a:picLocks/>
          </p:cNvPicPr>
          <p:nvPr/>
        </p:nvPicPr>
        <p:blipFill rotWithShape="1">
          <a:blip r:embed="rId2" cstate="screen">
            <a:extLst>
              <a:ext uri="{28A0092B-C50C-407E-A947-70E740481C1C}">
                <a14:useLocalDpi xmlns:a14="http://schemas.microsoft.com/office/drawing/2010/main"/>
              </a:ext>
            </a:extLst>
          </a:blip>
          <a:srcRect/>
          <a:stretch/>
        </p:blipFill>
        <p:spPr>
          <a:xfrm>
            <a:off x="6816587" y="-1510"/>
            <a:ext cx="17591894" cy="13741896"/>
          </a:xfrm>
          <a:prstGeom prst="rect">
            <a:avLst/>
          </a:prstGeom>
        </p:spPr>
      </p:pic>
      <p:sp>
        <p:nvSpPr>
          <p:cNvPr id="12" name="Rectangle 11"/>
          <p:cNvSpPr/>
          <p:nvPr/>
        </p:nvSpPr>
        <p:spPr>
          <a:xfrm>
            <a:off x="6816587" y="-1511"/>
            <a:ext cx="17591894" cy="13717514"/>
          </a:xfrm>
          <a:prstGeom prst="rect">
            <a:avLst/>
          </a:prstGeom>
          <a:solidFill>
            <a:schemeClr val="accent1">
              <a:alpha val="95000"/>
            </a:schemeClr>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13" name="Slide Number Placeholder 6"/>
          <p:cNvSpPr>
            <a:spLocks noGrp="1"/>
          </p:cNvSpPr>
          <p:nvPr>
            <p:ph type="sldNum" sz="quarter" idx="12"/>
          </p:nvPr>
        </p:nvSpPr>
        <p:spPr>
          <a:xfrm>
            <a:off x="17475200" y="12712703"/>
            <a:ext cx="5689600" cy="730250"/>
          </a:xfrm>
        </p:spPr>
        <p:txBody>
          <a:bodyPr/>
          <a:lstStyle>
            <a:lvl1pPr>
              <a:defRPr>
                <a:solidFill>
                  <a:schemeClr val="bg1"/>
                </a:solidFill>
              </a:defRPr>
            </a:lvl1pPr>
          </a:lstStyle>
          <a:p>
            <a:fld id="{F2104BB4-88E0-9547-9C3D-EE95037318C2}" type="slidenum">
              <a:rPr lang="en-US" smtClean="0"/>
              <a:t>‹#›</a:t>
            </a:fld>
            <a:endParaRPr lang="en-US"/>
          </a:p>
        </p:txBody>
      </p:sp>
      <p:sp>
        <p:nvSpPr>
          <p:cNvPr id="15" name="Picture Placeholder 14"/>
          <p:cNvSpPr>
            <a:spLocks noGrp="1"/>
          </p:cNvSpPr>
          <p:nvPr>
            <p:ph type="pic" sz="quarter" idx="13" hasCustomPrompt="1"/>
          </p:nvPr>
        </p:nvSpPr>
        <p:spPr>
          <a:xfrm>
            <a:off x="7475518" y="1957623"/>
            <a:ext cx="2855912" cy="2610774"/>
          </a:xfrm>
          <a:solidFill>
            <a:schemeClr val="accent2"/>
          </a:solidFill>
        </p:spPr>
        <p:txBody>
          <a:bodyPr>
            <a:normAutofit/>
          </a:bodyPr>
          <a:lstStyle>
            <a:lvl1pPr marL="0" indent="0">
              <a:buNone/>
              <a:defRPr sz="3200"/>
            </a:lvl1pPr>
          </a:lstStyle>
          <a:p>
            <a:r>
              <a:rPr lang="en-US" dirty="0"/>
              <a:t>Picture 1</a:t>
            </a:r>
          </a:p>
        </p:txBody>
      </p:sp>
      <p:sp>
        <p:nvSpPr>
          <p:cNvPr id="16" name="Picture Placeholder 14"/>
          <p:cNvSpPr>
            <a:spLocks noGrp="1"/>
          </p:cNvSpPr>
          <p:nvPr>
            <p:ph type="pic" sz="quarter" idx="14" hasCustomPrompt="1"/>
          </p:nvPr>
        </p:nvSpPr>
        <p:spPr>
          <a:xfrm>
            <a:off x="7475518" y="5283493"/>
            <a:ext cx="2855912" cy="2609714"/>
          </a:xfrm>
          <a:solidFill>
            <a:schemeClr val="accent2"/>
          </a:solidFill>
        </p:spPr>
        <p:txBody>
          <a:bodyPr>
            <a:normAutofit/>
          </a:bodyPr>
          <a:lstStyle>
            <a:lvl1pPr marL="0" indent="0">
              <a:buNone/>
              <a:defRPr sz="3200"/>
            </a:lvl1pPr>
          </a:lstStyle>
          <a:p>
            <a:r>
              <a:rPr lang="en-US" dirty="0"/>
              <a:t>Picture 2</a:t>
            </a:r>
          </a:p>
        </p:txBody>
      </p:sp>
      <p:sp>
        <p:nvSpPr>
          <p:cNvPr id="17" name="Picture Placeholder 14"/>
          <p:cNvSpPr>
            <a:spLocks noGrp="1"/>
          </p:cNvSpPr>
          <p:nvPr>
            <p:ph type="pic" sz="quarter" idx="15" hasCustomPrompt="1"/>
          </p:nvPr>
        </p:nvSpPr>
        <p:spPr>
          <a:xfrm>
            <a:off x="7475518" y="8533134"/>
            <a:ext cx="2855912" cy="2609712"/>
          </a:xfrm>
          <a:solidFill>
            <a:schemeClr val="accent2"/>
          </a:solidFill>
        </p:spPr>
        <p:txBody>
          <a:bodyPr>
            <a:normAutofit/>
          </a:bodyPr>
          <a:lstStyle>
            <a:lvl1pPr marL="0" indent="0">
              <a:buNone/>
              <a:defRPr sz="3200"/>
            </a:lvl1pPr>
          </a:lstStyle>
          <a:p>
            <a:r>
              <a:rPr lang="en-US" dirty="0"/>
              <a:t>Picture 3</a:t>
            </a:r>
          </a:p>
        </p:txBody>
      </p:sp>
      <p:sp>
        <p:nvSpPr>
          <p:cNvPr id="19" name="Text Placeholder 18"/>
          <p:cNvSpPr>
            <a:spLocks noGrp="1"/>
          </p:cNvSpPr>
          <p:nvPr>
            <p:ph type="body" sz="quarter" idx="16"/>
          </p:nvPr>
        </p:nvSpPr>
        <p:spPr>
          <a:xfrm>
            <a:off x="10591802" y="1958683"/>
            <a:ext cx="12573000" cy="2609714"/>
          </a:xfrm>
        </p:spPr>
        <p:txBody>
          <a:bodyPr>
            <a:noAutofit/>
          </a:bodyPr>
          <a:lstStyle>
            <a:lvl1pPr marL="0" indent="0">
              <a:buFont typeface="Arial"/>
              <a:buNone/>
              <a:defRPr sz="3800" b="1">
                <a:solidFill>
                  <a:schemeClr val="accent3"/>
                </a:solidFill>
              </a:defRPr>
            </a:lvl1pPr>
            <a:lvl2pPr marL="1062542" indent="-457188">
              <a:buFont typeface="Arial"/>
              <a:buChar char="•"/>
              <a:defRPr sz="3200" baseline="0">
                <a:solidFill>
                  <a:srgbClr val="FFFFFF"/>
                </a:solidFill>
              </a:defRPr>
            </a:lvl2pPr>
            <a:lvl3pPr marL="1223402" indent="0">
              <a:buNone/>
              <a:defRPr sz="3000"/>
            </a:lvl3pPr>
            <a:lvl4pPr marL="1828754" indent="0">
              <a:buNone/>
              <a:defRPr sz="2800"/>
            </a:lvl4pPr>
            <a:lvl5pPr marL="2434104" indent="0">
              <a:buNone/>
              <a:defRPr sz="2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7"/>
          </p:nvPr>
        </p:nvSpPr>
        <p:spPr>
          <a:xfrm>
            <a:off x="10591802" y="5283493"/>
            <a:ext cx="12573000" cy="2609714"/>
          </a:xfrm>
        </p:spPr>
        <p:txBody>
          <a:bodyPr>
            <a:noAutofit/>
          </a:bodyPr>
          <a:lstStyle>
            <a:lvl1pPr marL="0" indent="0">
              <a:buFont typeface="Arial"/>
              <a:buNone/>
              <a:defRPr sz="3800" b="1">
                <a:solidFill>
                  <a:schemeClr val="accent3"/>
                </a:solidFill>
              </a:defRPr>
            </a:lvl1pPr>
            <a:lvl2pPr marL="1062542" indent="-457188">
              <a:buFont typeface="Arial"/>
              <a:buChar char="•"/>
              <a:defRPr sz="3200" baseline="0">
                <a:solidFill>
                  <a:srgbClr val="FFFFFF"/>
                </a:solidFill>
              </a:defRPr>
            </a:lvl2pPr>
            <a:lvl3pPr marL="1223402" indent="0">
              <a:buNone/>
              <a:defRPr sz="3000"/>
            </a:lvl3pPr>
            <a:lvl4pPr marL="1828754" indent="0">
              <a:buNone/>
              <a:defRPr sz="2800"/>
            </a:lvl4pPr>
            <a:lvl5pPr marL="2434104" indent="0">
              <a:buNone/>
              <a:defRPr sz="2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8"/>
          <p:cNvSpPr>
            <a:spLocks noGrp="1"/>
          </p:cNvSpPr>
          <p:nvPr>
            <p:ph type="body" sz="quarter" idx="18"/>
          </p:nvPr>
        </p:nvSpPr>
        <p:spPr>
          <a:xfrm>
            <a:off x="10591802" y="8533133"/>
            <a:ext cx="12573000" cy="2609714"/>
          </a:xfrm>
        </p:spPr>
        <p:txBody>
          <a:bodyPr>
            <a:noAutofit/>
          </a:bodyPr>
          <a:lstStyle>
            <a:lvl1pPr marL="0" indent="0">
              <a:buFont typeface="Arial"/>
              <a:buNone/>
              <a:defRPr sz="3800" b="1">
                <a:solidFill>
                  <a:schemeClr val="accent3"/>
                </a:solidFill>
              </a:defRPr>
            </a:lvl1pPr>
            <a:lvl2pPr marL="1062542" indent="-457188">
              <a:buFont typeface="Arial"/>
              <a:buChar char="•"/>
              <a:defRPr sz="3200" baseline="0">
                <a:solidFill>
                  <a:srgbClr val="FFFFFF"/>
                </a:solidFill>
              </a:defRPr>
            </a:lvl2pPr>
            <a:lvl3pPr marL="1223402" indent="0">
              <a:buNone/>
              <a:defRPr sz="3000"/>
            </a:lvl3pPr>
            <a:lvl4pPr marL="1828754" indent="0">
              <a:buNone/>
              <a:defRPr sz="2800"/>
            </a:lvl4pPr>
            <a:lvl5pPr marL="2434104" indent="0">
              <a:buNone/>
              <a:defRPr sz="28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Hybrid Cloud Digital Logo 7 white trns-0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414704" y="177672"/>
            <a:ext cx="2380944" cy="1781008"/>
          </a:xfrm>
          <a:prstGeom prst="rect">
            <a:avLst/>
          </a:prstGeom>
        </p:spPr>
      </p:pic>
    </p:spTree>
    <p:extLst>
      <p:ext uri="{BB962C8B-B14F-4D97-AF65-F5344CB8AC3E}">
        <p14:creationId xmlns:p14="http://schemas.microsoft.com/office/powerpoint/2010/main" val="92455607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cSld name="Title with Textbox">
    <p:bg>
      <p:bgPr>
        <a:solidFill>
          <a:srgbClr val="F7F7F7"/>
        </a:solidFill>
        <a:effectLst/>
      </p:bgPr>
    </p:bg>
    <p:spTree>
      <p:nvGrpSpPr>
        <p:cNvPr id="1" name=""/>
        <p:cNvGrpSpPr/>
        <p:nvPr/>
      </p:nvGrpSpPr>
      <p:grpSpPr>
        <a:xfrm>
          <a:off x="0" y="0"/>
          <a:ext cx="0" cy="0"/>
          <a:chOff x="0" y="0"/>
          <a:chExt cx="0" cy="0"/>
        </a:xfrm>
      </p:grpSpPr>
      <p:sp>
        <p:nvSpPr>
          <p:cNvPr id="5" name="Rectangle 4"/>
          <p:cNvSpPr/>
          <p:nvPr/>
        </p:nvSpPr>
        <p:spPr>
          <a:xfrm>
            <a:off x="-22225" y="-101600"/>
            <a:ext cx="24457026" cy="333376"/>
          </a:xfrm>
          <a:prstGeom prst="rect">
            <a:avLst/>
          </a:prstGeom>
          <a:gradFill flip="none" rotWithShape="1">
            <a:gsLst>
              <a:gs pos="0">
                <a:srgbClr val="FCCE13"/>
              </a:gs>
              <a:gs pos="69000">
                <a:srgbClr val="5C2B61"/>
              </a:gs>
              <a:gs pos="23000">
                <a:srgbClr val="D0308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76" tIns="91438" rIns="182876" bIns="91438" anchor="ctr"/>
          <a:lstStyle/>
          <a:p>
            <a:pPr algn="ctr" eaLnBrk="1" fontAlgn="auto" hangingPunct="1">
              <a:spcBef>
                <a:spcPts val="0"/>
              </a:spcBef>
              <a:spcAft>
                <a:spcPts val="0"/>
              </a:spcAft>
              <a:defRPr/>
            </a:pPr>
            <a:endParaRPr lang="en-US" sz="4800"/>
          </a:p>
        </p:txBody>
      </p:sp>
      <p:sp>
        <p:nvSpPr>
          <p:cNvPr id="4" name="Text Placeholder 3"/>
          <p:cNvSpPr>
            <a:spLocks noGrp="1"/>
          </p:cNvSpPr>
          <p:nvPr>
            <p:ph type="body" sz="quarter" idx="10"/>
          </p:nvPr>
        </p:nvSpPr>
        <p:spPr>
          <a:xfrm>
            <a:off x="762005" y="1097363"/>
            <a:ext cx="9303790" cy="2831540"/>
          </a:xfrm>
          <a:prstGeom prst="rect">
            <a:avLst/>
          </a:prstGeom>
        </p:spPr>
        <p:txBody>
          <a:bodyPr wrap="square" lIns="0">
            <a:spAutoFit/>
          </a:bodyPr>
          <a:lstStyle>
            <a:lvl1pPr marL="0" indent="0">
              <a:buNone/>
              <a:defRPr sz="8800" b="1" i="0" baseline="0">
                <a:solidFill>
                  <a:schemeClr val="tx2"/>
                </a:solidFill>
                <a:latin typeface="+mn-lt"/>
                <a:ea typeface="Arial" charset="0"/>
                <a:cs typeface="Arial" charset="0"/>
              </a:defRPr>
            </a:lvl1pPr>
          </a:lstStyle>
          <a:p>
            <a:pPr lvl="0"/>
            <a:r>
              <a:rPr lang="en-US" noProof="0"/>
              <a:t>Click to edit Master text styles</a:t>
            </a:r>
          </a:p>
        </p:txBody>
      </p:sp>
      <p:sp>
        <p:nvSpPr>
          <p:cNvPr id="3" name="Text Placeholder 2"/>
          <p:cNvSpPr>
            <a:spLocks noGrp="1"/>
          </p:cNvSpPr>
          <p:nvPr>
            <p:ph type="body" sz="quarter" idx="11"/>
          </p:nvPr>
        </p:nvSpPr>
        <p:spPr>
          <a:xfrm>
            <a:off x="762005" y="3048000"/>
            <a:ext cx="22859998" cy="8991600"/>
          </a:xfrm>
          <a:prstGeom prst="rect">
            <a:avLst/>
          </a:prstGeom>
        </p:spPr>
        <p:txBody>
          <a:bodyPr/>
          <a:lstStyle>
            <a:lvl1pPr>
              <a:defRPr b="0" i="0">
                <a:solidFill>
                  <a:schemeClr val="tx1"/>
                </a:solidFill>
                <a:latin typeface="+mn-lt"/>
                <a:ea typeface="Arial" charset="0"/>
                <a:cs typeface="Arial" charset="0"/>
              </a:defRPr>
            </a:lvl1pPr>
            <a:lvl2pPr>
              <a:defRPr b="0" i="0">
                <a:solidFill>
                  <a:schemeClr val="tx1"/>
                </a:solidFill>
                <a:latin typeface="+mn-lt"/>
                <a:ea typeface="Arial" charset="0"/>
                <a:cs typeface="Arial" charset="0"/>
              </a:defRPr>
            </a:lvl2pPr>
            <a:lvl3pPr>
              <a:defRPr b="0" i="0">
                <a:solidFill>
                  <a:schemeClr val="tx1"/>
                </a:solidFill>
                <a:latin typeface="+mn-lt"/>
                <a:ea typeface="Arial" charset="0"/>
                <a:cs typeface="Arial" charset="0"/>
              </a:defRPr>
            </a:lvl3pPr>
            <a:lvl4pPr>
              <a:defRPr b="0" i="0">
                <a:solidFill>
                  <a:schemeClr val="tx1"/>
                </a:solidFill>
                <a:latin typeface="+mn-lt"/>
                <a:ea typeface="Arial" charset="0"/>
                <a:cs typeface="Arial" charset="0"/>
              </a:defRPr>
            </a:lvl4pPr>
            <a:lvl5pPr>
              <a:defRPr b="0" i="0">
                <a:solidFill>
                  <a:schemeClr val="tx1"/>
                </a:solidFill>
                <a:latin typeface="+mn-lt"/>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201091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755904" y="1950725"/>
            <a:ext cx="23164800" cy="761746"/>
          </a:xfrm>
        </p:spPr>
        <p:txBody>
          <a:bodyPr/>
          <a:lstStyle>
            <a:lvl1pPr>
              <a:defRPr sz="5400" b="0" i="0">
                <a:solidFill>
                  <a:schemeClr val="accent1"/>
                </a:solidFill>
                <a:latin typeface="IBM Plex Sans Regular" charset="0"/>
                <a:cs typeface="IBM Plex Sans Regular" charset="0"/>
              </a:defRPr>
            </a:lvl1pPr>
          </a:lstStyle>
          <a:p>
            <a:r>
              <a:rPr lang="en-US"/>
              <a:t>Click to edit Master title style</a:t>
            </a:r>
            <a:endParaRPr lang="en-US" dirty="0"/>
          </a:p>
        </p:txBody>
      </p:sp>
      <p:sp>
        <p:nvSpPr>
          <p:cNvPr id="3" name="Content Placeholder 2"/>
          <p:cNvSpPr>
            <a:spLocks noGrp="1"/>
          </p:cNvSpPr>
          <p:nvPr>
            <p:ph sz="half" idx="1"/>
          </p:nvPr>
        </p:nvSpPr>
        <p:spPr>
          <a:xfrm>
            <a:off x="755907" y="3654433"/>
            <a:ext cx="11070166" cy="3920562"/>
          </a:xfrm>
        </p:spPr>
        <p:txBody>
          <a:bodyPr/>
          <a:lstStyle>
            <a:lvl1pPr>
              <a:defRPr sz="4800" b="0" i="0" baseline="0">
                <a:solidFill>
                  <a:schemeClr val="tx1"/>
                </a:solidFill>
                <a:latin typeface="IBM Plex Sans Regular" charset="0"/>
                <a:cs typeface="IBM Plex Sans Regular" charset="0"/>
              </a:defRPr>
            </a:lvl1pPr>
            <a:lvl2pPr>
              <a:defRPr sz="4200" b="0" i="0">
                <a:solidFill>
                  <a:schemeClr val="tx1"/>
                </a:solidFill>
                <a:latin typeface="IBM Plex Sans Regular" charset="0"/>
                <a:cs typeface="IBM Plex Sans Regular" charset="0"/>
              </a:defRPr>
            </a:lvl2pPr>
            <a:lvl3pPr>
              <a:defRPr sz="3800" b="0" i="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vl6pPr>
              <a:defRPr sz="3800"/>
            </a:lvl6pPr>
            <a:lvl7pPr>
              <a:defRPr sz="3800"/>
            </a:lvl7pPr>
            <a:lvl8pPr>
              <a:defRPr sz="3800"/>
            </a:lvl8pPr>
            <a:lvl9pPr>
              <a:defRPr sz="3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232476" y="3654433"/>
            <a:ext cx="11070168" cy="3920562"/>
          </a:xfrm>
        </p:spPr>
        <p:txBody>
          <a:bodyPr/>
          <a:lstStyle>
            <a:lvl1pPr>
              <a:defRPr sz="4800" b="0" i="0" baseline="0">
                <a:solidFill>
                  <a:schemeClr val="tx1"/>
                </a:solidFill>
                <a:latin typeface="IBM Plex Sans Regular" charset="0"/>
                <a:cs typeface="IBM Plex Sans Regular" charset="0"/>
              </a:defRPr>
            </a:lvl1pPr>
            <a:lvl2pPr>
              <a:defRPr sz="4200" b="0" i="0">
                <a:solidFill>
                  <a:schemeClr val="tx1"/>
                </a:solidFill>
                <a:latin typeface="IBM Plex Sans Regular" charset="0"/>
                <a:cs typeface="IBM Plex Sans Regular" charset="0"/>
              </a:defRPr>
            </a:lvl2pPr>
            <a:lvl3pPr>
              <a:defRPr sz="3800" b="0" i="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vl6pPr>
              <a:defRPr sz="3800"/>
            </a:lvl6pPr>
            <a:lvl7pPr>
              <a:defRPr sz="3800"/>
            </a:lvl7pPr>
            <a:lvl8pPr>
              <a:defRPr sz="3800"/>
            </a:lvl8pPr>
            <a:lvl9pPr>
              <a:defRPr sz="3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sz="half" idx="11"/>
          </p:nvPr>
        </p:nvSpPr>
        <p:spPr>
          <a:xfrm>
            <a:off x="755907" y="8080201"/>
            <a:ext cx="11070166" cy="3920562"/>
          </a:xfrm>
        </p:spPr>
        <p:txBody>
          <a:bodyPr/>
          <a:lstStyle>
            <a:lvl1pPr>
              <a:defRPr sz="4800" b="0" i="0" baseline="0">
                <a:solidFill>
                  <a:schemeClr val="tx1"/>
                </a:solidFill>
                <a:latin typeface="IBM Plex Sans Regular" charset="0"/>
                <a:cs typeface="IBM Plex Sans Regular" charset="0"/>
              </a:defRPr>
            </a:lvl1pPr>
            <a:lvl2pPr>
              <a:defRPr sz="4200" b="0" i="0">
                <a:solidFill>
                  <a:schemeClr val="tx1"/>
                </a:solidFill>
                <a:latin typeface="IBM Plex Sans Regular" charset="0"/>
                <a:cs typeface="IBM Plex Sans Regular" charset="0"/>
              </a:defRPr>
            </a:lvl2pPr>
            <a:lvl3pPr>
              <a:defRPr sz="3800" b="0" i="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vl6pPr>
              <a:defRPr sz="3800"/>
            </a:lvl6pPr>
            <a:lvl7pPr>
              <a:defRPr sz="3800"/>
            </a:lvl7pPr>
            <a:lvl8pPr>
              <a:defRPr sz="3800"/>
            </a:lvl8pPr>
            <a:lvl9pPr>
              <a:defRPr sz="3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p:cNvSpPr>
            <a:spLocks noGrp="1"/>
          </p:cNvSpPr>
          <p:nvPr>
            <p:ph sz="half" idx="12"/>
          </p:nvPr>
        </p:nvSpPr>
        <p:spPr>
          <a:xfrm>
            <a:off x="12232476" y="8080201"/>
            <a:ext cx="11070168" cy="3920562"/>
          </a:xfrm>
        </p:spPr>
        <p:txBody>
          <a:bodyPr/>
          <a:lstStyle>
            <a:lvl1pPr>
              <a:defRPr sz="4800" b="0" i="0" baseline="0">
                <a:solidFill>
                  <a:schemeClr val="tx1"/>
                </a:solidFill>
                <a:latin typeface="IBM Plex Sans Regular" charset="0"/>
                <a:cs typeface="IBM Plex Sans Regular" charset="0"/>
              </a:defRPr>
            </a:lvl1pPr>
            <a:lvl2pPr>
              <a:defRPr sz="4200" b="0" i="0">
                <a:solidFill>
                  <a:schemeClr val="tx1"/>
                </a:solidFill>
                <a:latin typeface="IBM Plex Sans Regular" charset="0"/>
                <a:cs typeface="IBM Plex Sans Regular" charset="0"/>
              </a:defRPr>
            </a:lvl2pPr>
            <a:lvl3pPr>
              <a:defRPr sz="3800" b="0" i="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vl6pPr>
              <a:defRPr sz="3800"/>
            </a:lvl6pPr>
            <a:lvl7pPr>
              <a:defRPr sz="3800"/>
            </a:lvl7pPr>
            <a:lvl8pPr>
              <a:defRPr sz="3800"/>
            </a:lvl8pPr>
            <a:lvl9pPr>
              <a:defRPr sz="3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52"/>
          <p:cNvSpPr>
            <a:spLocks noGrp="1" noChangeArrowheads="1"/>
          </p:cNvSpPr>
          <p:nvPr>
            <p:ph type="sldNum" sz="quarter" idx="13"/>
          </p:nvPr>
        </p:nvSpPr>
        <p:spPr>
          <a:xfrm>
            <a:off x="832764" y="13009041"/>
            <a:ext cx="5664200" cy="292098"/>
          </a:xfrm>
          <a:prstGeom prst="rect">
            <a:avLst/>
          </a:prstGeom>
        </p:spPr>
        <p:txBody>
          <a:bodyPr/>
          <a:lstStyle>
            <a:lvl1pPr>
              <a:lnSpc>
                <a:spcPct val="100000"/>
              </a:lnSpc>
              <a:defRPr sz="2600" smtClean="0">
                <a:solidFill>
                  <a:schemeClr val="tx1"/>
                </a:solidFill>
                <a:latin typeface="Arial" pitchFamily="34" charset="0"/>
                <a:cs typeface="Arial" pitchFamily="34" charset="0"/>
              </a:defRPr>
            </a:lvl1pPr>
          </a:lstStyle>
          <a:p>
            <a:fld id="{F2104BB4-88E0-9547-9C3D-EE95037318C2}" type="slidenum">
              <a:rPr lang="en-US" smtClean="0"/>
              <a:t>‹#›</a:t>
            </a:fld>
            <a:endParaRPr lang="en-US"/>
          </a:p>
        </p:txBody>
      </p:sp>
      <p:pic>
        <p:nvPicPr>
          <p:cNvPr id="11" name="Picture 10"/>
          <p:cNvPicPr>
            <a:picLocks noChangeAspect="1"/>
          </p:cNvPicPr>
          <p:nvPr/>
        </p:nvPicPr>
        <p:blipFill>
          <a:blip r:embed="rId2"/>
          <a:stretch>
            <a:fillRect/>
          </a:stretch>
        </p:blipFill>
        <p:spPr>
          <a:xfrm>
            <a:off x="794055" y="646316"/>
            <a:ext cx="5696482" cy="436424"/>
          </a:xfrm>
          <a:prstGeom prst="rect">
            <a:avLst/>
          </a:prstGeom>
        </p:spPr>
      </p:pic>
    </p:spTree>
    <p:extLst>
      <p:ext uri="{BB962C8B-B14F-4D97-AF65-F5344CB8AC3E}">
        <p14:creationId xmlns:p14="http://schemas.microsoft.com/office/powerpoint/2010/main" val="112266111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Side Title and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672" y="1950723"/>
            <a:ext cx="5291328" cy="1509646"/>
          </a:xfrm>
        </p:spPr>
        <p:txBody>
          <a:bodyPr/>
          <a:lstStyle>
            <a:lvl1pPr>
              <a:defRPr sz="5400" b="0" i="0">
                <a:solidFill>
                  <a:schemeClr val="accent1"/>
                </a:solidFill>
                <a:latin typeface="IBM Plex Sans Regular" charset="0"/>
                <a:cs typeface="IBM Plex Sans Regular" charset="0"/>
              </a:defRPr>
            </a:lvl1pPr>
          </a:lstStyle>
          <a:p>
            <a:r>
              <a:rPr lang="en-US"/>
              <a:t>Click to edit Master title style</a:t>
            </a:r>
            <a:endParaRPr lang="en-US" dirty="0"/>
          </a:p>
        </p:txBody>
      </p:sp>
      <p:sp>
        <p:nvSpPr>
          <p:cNvPr id="3" name="Content Placeholder 2"/>
          <p:cNvSpPr>
            <a:spLocks noGrp="1"/>
          </p:cNvSpPr>
          <p:nvPr>
            <p:ph idx="1"/>
          </p:nvPr>
        </p:nvSpPr>
        <p:spPr>
          <a:xfrm>
            <a:off x="6510531" y="1950720"/>
            <a:ext cx="8119874" cy="9753600"/>
          </a:xfrm>
        </p:spPr>
        <p:txBody>
          <a:bodyPr/>
          <a:lstStyle>
            <a:lvl1pPr>
              <a:buClrTx/>
              <a:defRPr sz="4800" b="0" i="0" baseline="0">
                <a:solidFill>
                  <a:schemeClr val="tx1"/>
                </a:solidFill>
                <a:latin typeface="IBM Plex Sans Regular" charset="0"/>
                <a:cs typeface="IBM Plex Sans Regular" charset="0"/>
              </a:defRPr>
            </a:lvl1pPr>
            <a:lvl2pPr>
              <a:defRPr sz="4200" b="0" i="0" baseline="0">
                <a:solidFill>
                  <a:schemeClr val="tx1"/>
                </a:solidFill>
                <a:latin typeface="IBM Plex Sans Regular" charset="0"/>
                <a:cs typeface="IBM Plex Sans Regular" charset="0"/>
              </a:defRPr>
            </a:lvl2pPr>
            <a:lvl3pPr>
              <a:defRPr sz="3800" b="0" i="0" baseline="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1"/>
          </p:nvPr>
        </p:nvSpPr>
        <p:spPr>
          <a:xfrm>
            <a:off x="15044931" y="1950720"/>
            <a:ext cx="8119874" cy="9753600"/>
          </a:xfrm>
        </p:spPr>
        <p:txBody>
          <a:bodyPr/>
          <a:lstStyle>
            <a:lvl1pPr>
              <a:buClrTx/>
              <a:defRPr sz="4800" b="0" i="0" baseline="0">
                <a:solidFill>
                  <a:schemeClr val="tx1"/>
                </a:solidFill>
                <a:latin typeface="IBM Plex Sans Regular" charset="0"/>
                <a:cs typeface="IBM Plex Sans Regular" charset="0"/>
              </a:defRPr>
            </a:lvl1pPr>
            <a:lvl2pPr>
              <a:defRPr sz="4200" b="0" i="0" baseline="0">
                <a:solidFill>
                  <a:schemeClr val="tx1"/>
                </a:solidFill>
                <a:latin typeface="IBM Plex Sans Regular" charset="0"/>
                <a:cs typeface="IBM Plex Sans Regular" charset="0"/>
              </a:defRPr>
            </a:lvl2pPr>
            <a:lvl3pPr>
              <a:defRPr sz="3800" b="0" i="0" baseline="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52"/>
          <p:cNvSpPr>
            <a:spLocks noGrp="1" noChangeArrowheads="1"/>
          </p:cNvSpPr>
          <p:nvPr>
            <p:ph type="sldNum" sz="quarter" idx="12"/>
          </p:nvPr>
        </p:nvSpPr>
        <p:spPr>
          <a:xfrm>
            <a:off x="832764" y="13009041"/>
            <a:ext cx="5664200" cy="292098"/>
          </a:xfrm>
          <a:prstGeom prst="rect">
            <a:avLst/>
          </a:prstGeom>
        </p:spPr>
        <p:txBody>
          <a:bodyPr/>
          <a:lstStyle>
            <a:lvl1pPr>
              <a:lnSpc>
                <a:spcPct val="100000"/>
              </a:lnSpc>
              <a:defRPr sz="2600" smtClean="0">
                <a:solidFill>
                  <a:schemeClr val="tx1"/>
                </a:solidFill>
                <a:latin typeface="Arial" pitchFamily="34" charset="0"/>
                <a:cs typeface="Arial" pitchFamily="34" charset="0"/>
              </a:defRPr>
            </a:lvl1pPr>
          </a:lstStyle>
          <a:p>
            <a:fld id="{F2104BB4-88E0-9547-9C3D-EE95037318C2}" type="slidenum">
              <a:rPr lang="en-US" smtClean="0"/>
              <a:t>‹#›</a:t>
            </a:fld>
            <a:endParaRPr lang="en-US"/>
          </a:p>
        </p:txBody>
      </p:sp>
      <p:pic>
        <p:nvPicPr>
          <p:cNvPr id="8" name="Picture 7"/>
          <p:cNvPicPr>
            <a:picLocks noChangeAspect="1"/>
          </p:cNvPicPr>
          <p:nvPr/>
        </p:nvPicPr>
        <p:blipFill>
          <a:blip r:embed="rId2"/>
          <a:stretch>
            <a:fillRect/>
          </a:stretch>
        </p:blipFill>
        <p:spPr>
          <a:xfrm>
            <a:off x="794055" y="646316"/>
            <a:ext cx="5696482" cy="436424"/>
          </a:xfrm>
          <a:prstGeom prst="rect">
            <a:avLst/>
          </a:prstGeom>
        </p:spPr>
      </p:pic>
    </p:spTree>
    <p:extLst>
      <p:ext uri="{BB962C8B-B14F-4D97-AF65-F5344CB8AC3E}">
        <p14:creationId xmlns:p14="http://schemas.microsoft.com/office/powerpoint/2010/main" val="26237132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12192000" y="6853767"/>
            <a:ext cx="6096000" cy="6862234"/>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0" y="-1"/>
            <a:ext cx="24384000" cy="6851901"/>
          </a:xfrm>
          <a:solidFill>
            <a:schemeClr val="tx1"/>
          </a:solidFill>
        </p:spPr>
        <p:txBody>
          <a:bodyPr lIns="182880" tIns="164592" rIns="228600" bIns="228600"/>
          <a:lstStyle>
            <a:lvl1pPr>
              <a:defRPr sz="12788"/>
            </a:lvl1pPr>
          </a:lstStyle>
          <a:p>
            <a:r>
              <a:rPr lang="en-US"/>
              <a:t>Click to edit Master title style</a:t>
            </a:r>
            <a:endParaRPr lang="en-US" dirty="0"/>
          </a:p>
        </p:txBody>
      </p:sp>
      <p:sp>
        <p:nvSpPr>
          <p:cNvPr id="11" name="Content Placeholder 10"/>
          <p:cNvSpPr>
            <a:spLocks noGrp="1"/>
          </p:cNvSpPr>
          <p:nvPr>
            <p:ph sz="quarter" idx="18"/>
          </p:nvPr>
        </p:nvSpPr>
        <p:spPr>
          <a:xfrm>
            <a:off x="18288000" y="6853767"/>
            <a:ext cx="6096000" cy="6862234"/>
          </a:xfrm>
          <a:solidFill>
            <a:srgbClr val="6BA5FF"/>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13"/>
          <p:cNvSpPr>
            <a:spLocks noGrp="1"/>
          </p:cNvSpPr>
          <p:nvPr>
            <p:ph sz="quarter" idx="19"/>
          </p:nvPr>
        </p:nvSpPr>
        <p:spPr>
          <a:xfrm>
            <a:off x="6096003" y="6853768"/>
            <a:ext cx="6096000" cy="6862231"/>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6"/>
          <p:cNvSpPr>
            <a:spLocks noGrp="1"/>
          </p:cNvSpPr>
          <p:nvPr>
            <p:ph sz="quarter" idx="20"/>
          </p:nvPr>
        </p:nvSpPr>
        <p:spPr>
          <a:xfrm>
            <a:off x="0" y="6853768"/>
            <a:ext cx="6096000" cy="6862231"/>
          </a:xfrm>
          <a:solidFill>
            <a:srgbClr val="031973"/>
          </a:solidFill>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8787279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Side Title and 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804672" y="1950723"/>
            <a:ext cx="5291328" cy="1509646"/>
          </a:xfrm>
        </p:spPr>
        <p:txBody>
          <a:bodyPr/>
          <a:lstStyle>
            <a:lvl1pPr>
              <a:defRPr sz="5400" b="0" i="0">
                <a:solidFill>
                  <a:schemeClr val="accent1"/>
                </a:solidFill>
                <a:latin typeface="IBM Plex Sans Regular" charset="0"/>
                <a:cs typeface="IBM Plex Sans Regular" charset="0"/>
              </a:defRPr>
            </a:lvl1pPr>
          </a:lstStyle>
          <a:p>
            <a:r>
              <a:rPr lang="en-US"/>
              <a:t>Click to edit Master title style</a:t>
            </a:r>
            <a:endParaRPr lang="en-US" dirty="0"/>
          </a:p>
        </p:txBody>
      </p:sp>
      <p:sp>
        <p:nvSpPr>
          <p:cNvPr id="3" name="Content Placeholder 2"/>
          <p:cNvSpPr>
            <a:spLocks noGrp="1"/>
          </p:cNvSpPr>
          <p:nvPr>
            <p:ph idx="1"/>
          </p:nvPr>
        </p:nvSpPr>
        <p:spPr>
          <a:xfrm>
            <a:off x="6510531" y="3777128"/>
            <a:ext cx="8119874" cy="7315200"/>
          </a:xfrm>
        </p:spPr>
        <p:txBody>
          <a:bodyPr/>
          <a:lstStyle>
            <a:lvl1pPr>
              <a:buClrTx/>
              <a:defRPr sz="4800" b="0" i="0" baseline="0">
                <a:solidFill>
                  <a:schemeClr val="tx1"/>
                </a:solidFill>
                <a:latin typeface="IBM Plex Sans Regular" charset="0"/>
                <a:cs typeface="IBM Plex Sans Regular" charset="0"/>
              </a:defRPr>
            </a:lvl1pPr>
            <a:lvl2pPr>
              <a:defRPr sz="4200" b="0" i="0" baseline="0">
                <a:solidFill>
                  <a:schemeClr val="tx1"/>
                </a:solidFill>
                <a:latin typeface="IBM Plex Sans Regular" charset="0"/>
                <a:cs typeface="IBM Plex Sans Regular" charset="0"/>
              </a:defRPr>
            </a:lvl2pPr>
            <a:lvl3pPr>
              <a:defRPr sz="3800" b="0" i="0" baseline="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1"/>
          </p:nvPr>
        </p:nvSpPr>
        <p:spPr>
          <a:xfrm>
            <a:off x="15044931" y="3777128"/>
            <a:ext cx="8119874" cy="7315200"/>
          </a:xfrm>
        </p:spPr>
        <p:txBody>
          <a:bodyPr/>
          <a:lstStyle>
            <a:lvl1pPr>
              <a:buClrTx/>
              <a:defRPr sz="4800" b="0" i="0" baseline="0">
                <a:solidFill>
                  <a:schemeClr val="tx1"/>
                </a:solidFill>
                <a:latin typeface="IBM Plex Sans Regular" charset="0"/>
                <a:cs typeface="IBM Plex Sans Regular" charset="0"/>
              </a:defRPr>
            </a:lvl1pPr>
            <a:lvl2pPr>
              <a:defRPr sz="4200" b="0" i="0" baseline="0">
                <a:solidFill>
                  <a:schemeClr val="tx1"/>
                </a:solidFill>
                <a:latin typeface="IBM Plex Sans Regular" charset="0"/>
                <a:cs typeface="IBM Plex Sans Regular" charset="0"/>
              </a:defRPr>
            </a:lvl2pPr>
            <a:lvl3pPr>
              <a:defRPr sz="3800" b="0" i="0" baseline="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idx="12"/>
          </p:nvPr>
        </p:nvSpPr>
        <p:spPr>
          <a:xfrm>
            <a:off x="6510523" y="1950723"/>
            <a:ext cx="8119878" cy="1279526"/>
          </a:xfrm>
        </p:spPr>
        <p:txBody>
          <a:bodyPr anchor="b"/>
          <a:lstStyle>
            <a:lvl1pPr marL="0" indent="0">
              <a:buNone/>
              <a:defRPr sz="4800" b="0" i="0" baseline="0">
                <a:solidFill>
                  <a:schemeClr val="tx1"/>
                </a:solidFill>
                <a:latin typeface="IBM Plex Sans Regular" charset="0"/>
                <a:cs typeface="IBM Plex Sans Regular" charset="0"/>
              </a:defRPr>
            </a:lvl1pPr>
            <a:lvl2pPr marL="914356" indent="0">
              <a:buNone/>
              <a:defRPr sz="4000" b="1"/>
            </a:lvl2pPr>
            <a:lvl3pPr marL="1828708" indent="0">
              <a:buNone/>
              <a:defRPr sz="3800" b="1"/>
            </a:lvl3pPr>
            <a:lvl4pPr marL="2743064" indent="0">
              <a:buNone/>
              <a:defRPr sz="3200" b="1"/>
            </a:lvl4pPr>
            <a:lvl5pPr marL="3657418" indent="0">
              <a:buNone/>
              <a:defRPr sz="3200" b="1"/>
            </a:lvl5pPr>
            <a:lvl6pPr marL="4571772" indent="0">
              <a:buNone/>
              <a:defRPr sz="3200" b="1"/>
            </a:lvl6pPr>
            <a:lvl7pPr marL="5486124" indent="0">
              <a:buNone/>
              <a:defRPr sz="3200" b="1"/>
            </a:lvl7pPr>
            <a:lvl8pPr marL="6400480" indent="0">
              <a:buNone/>
              <a:defRPr sz="3200" b="1"/>
            </a:lvl8pPr>
            <a:lvl9pPr marL="7314836" indent="0">
              <a:buNone/>
              <a:defRPr sz="3200" b="1"/>
            </a:lvl9pPr>
          </a:lstStyle>
          <a:p>
            <a:pPr lvl="0"/>
            <a:r>
              <a:rPr lang="en-US"/>
              <a:t>Click to edit Master text styles</a:t>
            </a:r>
          </a:p>
        </p:txBody>
      </p:sp>
      <p:sp>
        <p:nvSpPr>
          <p:cNvPr id="9" name="Text Placeholder 4"/>
          <p:cNvSpPr>
            <a:spLocks noGrp="1"/>
          </p:cNvSpPr>
          <p:nvPr>
            <p:ph type="body" sz="quarter" idx="3"/>
          </p:nvPr>
        </p:nvSpPr>
        <p:spPr>
          <a:xfrm>
            <a:off x="15044929" y="1950723"/>
            <a:ext cx="8119878" cy="1279526"/>
          </a:xfrm>
        </p:spPr>
        <p:txBody>
          <a:bodyPr anchor="b"/>
          <a:lstStyle>
            <a:lvl1pPr marL="0" indent="0">
              <a:buNone/>
              <a:defRPr sz="4800" b="0" i="0" baseline="0">
                <a:solidFill>
                  <a:schemeClr val="tx1"/>
                </a:solidFill>
                <a:latin typeface="IBM Plex Sans Regular" charset="0"/>
                <a:cs typeface="IBM Plex Sans Regular" charset="0"/>
              </a:defRPr>
            </a:lvl1pPr>
            <a:lvl2pPr marL="914356" indent="0">
              <a:buNone/>
              <a:defRPr sz="4000" b="1"/>
            </a:lvl2pPr>
            <a:lvl3pPr marL="1828708" indent="0">
              <a:buNone/>
              <a:defRPr sz="3800" b="1"/>
            </a:lvl3pPr>
            <a:lvl4pPr marL="2743064" indent="0">
              <a:buNone/>
              <a:defRPr sz="3200" b="1"/>
            </a:lvl4pPr>
            <a:lvl5pPr marL="3657418" indent="0">
              <a:buNone/>
              <a:defRPr sz="3200" b="1"/>
            </a:lvl5pPr>
            <a:lvl6pPr marL="4571772" indent="0">
              <a:buNone/>
              <a:defRPr sz="3200" b="1"/>
            </a:lvl6pPr>
            <a:lvl7pPr marL="5486124" indent="0">
              <a:buNone/>
              <a:defRPr sz="3200" b="1"/>
            </a:lvl7pPr>
            <a:lvl8pPr marL="6400480" indent="0">
              <a:buNone/>
              <a:defRPr sz="3200" b="1"/>
            </a:lvl8pPr>
            <a:lvl9pPr marL="7314836" indent="0">
              <a:buNone/>
              <a:defRPr sz="3200" b="1"/>
            </a:lvl9pPr>
          </a:lstStyle>
          <a:p>
            <a:pPr lvl="0"/>
            <a:r>
              <a:rPr lang="en-US"/>
              <a:t>Click to edit Master text styles</a:t>
            </a:r>
          </a:p>
        </p:txBody>
      </p:sp>
      <p:sp>
        <p:nvSpPr>
          <p:cNvPr id="10" name="Rectangle 52"/>
          <p:cNvSpPr>
            <a:spLocks noGrp="1" noChangeArrowheads="1"/>
          </p:cNvSpPr>
          <p:nvPr>
            <p:ph type="sldNum" sz="quarter" idx="13"/>
          </p:nvPr>
        </p:nvSpPr>
        <p:spPr>
          <a:xfrm>
            <a:off x="832764" y="13009041"/>
            <a:ext cx="5664200" cy="292098"/>
          </a:xfrm>
          <a:prstGeom prst="rect">
            <a:avLst/>
          </a:prstGeom>
        </p:spPr>
        <p:txBody>
          <a:bodyPr/>
          <a:lstStyle>
            <a:lvl1pPr>
              <a:lnSpc>
                <a:spcPct val="100000"/>
              </a:lnSpc>
              <a:defRPr sz="2600" smtClean="0">
                <a:solidFill>
                  <a:schemeClr val="tx1"/>
                </a:solidFill>
                <a:latin typeface="Arial" pitchFamily="34" charset="0"/>
                <a:cs typeface="Arial" pitchFamily="34" charset="0"/>
              </a:defRPr>
            </a:lvl1pPr>
          </a:lstStyle>
          <a:p>
            <a:fld id="{F2104BB4-88E0-9547-9C3D-EE95037318C2}" type="slidenum">
              <a:rPr lang="en-US" smtClean="0"/>
              <a:t>‹#›</a:t>
            </a:fld>
            <a:endParaRPr lang="en-US"/>
          </a:p>
        </p:txBody>
      </p:sp>
      <p:pic>
        <p:nvPicPr>
          <p:cNvPr id="11" name="Picture 10"/>
          <p:cNvPicPr>
            <a:picLocks noChangeAspect="1"/>
          </p:cNvPicPr>
          <p:nvPr/>
        </p:nvPicPr>
        <p:blipFill>
          <a:blip r:embed="rId2"/>
          <a:stretch>
            <a:fillRect/>
          </a:stretch>
        </p:blipFill>
        <p:spPr>
          <a:xfrm>
            <a:off x="794055" y="646316"/>
            <a:ext cx="5696482" cy="436424"/>
          </a:xfrm>
          <a:prstGeom prst="rect">
            <a:avLst/>
          </a:prstGeom>
        </p:spPr>
      </p:pic>
    </p:spTree>
    <p:extLst>
      <p:ext uri="{BB962C8B-B14F-4D97-AF65-F5344CB8AC3E}">
        <p14:creationId xmlns:p14="http://schemas.microsoft.com/office/powerpoint/2010/main" val="43479258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Side Title and 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804672" y="1950723"/>
            <a:ext cx="5291328" cy="1509646"/>
          </a:xfrm>
        </p:spPr>
        <p:txBody>
          <a:bodyPr/>
          <a:lstStyle>
            <a:lvl1pPr>
              <a:defRPr sz="5400" b="0" i="0">
                <a:solidFill>
                  <a:schemeClr val="accent1"/>
                </a:solidFill>
                <a:latin typeface="IBM Plex Sans Regular" charset="0"/>
                <a:cs typeface="IBM Plex Sans Regular" charset="0"/>
              </a:defRPr>
            </a:lvl1pPr>
          </a:lstStyle>
          <a:p>
            <a:r>
              <a:rPr lang="en-US"/>
              <a:t>Click to edit Master title style</a:t>
            </a:r>
            <a:endParaRPr lang="en-US" dirty="0"/>
          </a:p>
        </p:txBody>
      </p:sp>
      <p:sp>
        <p:nvSpPr>
          <p:cNvPr id="3" name="Content Placeholder 2"/>
          <p:cNvSpPr>
            <a:spLocks noGrp="1"/>
          </p:cNvSpPr>
          <p:nvPr>
            <p:ph idx="1"/>
          </p:nvPr>
        </p:nvSpPr>
        <p:spPr>
          <a:xfrm>
            <a:off x="6510531" y="1950721"/>
            <a:ext cx="8119874" cy="4858874"/>
          </a:xfrm>
        </p:spPr>
        <p:txBody>
          <a:bodyPr>
            <a:noAutofit/>
          </a:bodyPr>
          <a:lstStyle>
            <a:lvl1pPr>
              <a:buClrTx/>
              <a:defRPr sz="3800" b="0" i="0" baseline="0">
                <a:solidFill>
                  <a:schemeClr val="tx1"/>
                </a:solidFill>
                <a:latin typeface="IBM Plex Sans Regular" charset="0"/>
                <a:cs typeface="IBM Plex Sans Regular" charset="0"/>
              </a:defRPr>
            </a:lvl1pPr>
            <a:lvl2pPr>
              <a:defRPr sz="3200" b="0" i="0" baseline="0">
                <a:solidFill>
                  <a:schemeClr val="tx1"/>
                </a:solidFill>
                <a:latin typeface="IBM Plex Sans Regular" charset="0"/>
                <a:cs typeface="IBM Plex Sans Regular" charset="0"/>
              </a:defRPr>
            </a:lvl2pPr>
            <a:lvl3pPr>
              <a:defRPr sz="2600" b="0" i="0" baseline="0">
                <a:solidFill>
                  <a:schemeClr val="tx1"/>
                </a:solidFill>
                <a:latin typeface="IBM Plex Sans Regular" charset="0"/>
                <a:cs typeface="IBM Plex Sans Regular" charset="0"/>
              </a:defRPr>
            </a:lvl3pPr>
            <a:lvl4pPr>
              <a:defRPr sz="26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1"/>
          </p:nvPr>
        </p:nvSpPr>
        <p:spPr>
          <a:xfrm>
            <a:off x="15044931" y="1950721"/>
            <a:ext cx="8119874" cy="4858874"/>
          </a:xfr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oAutofit/>
          </a:bodyPr>
          <a:lstStyle>
            <a:lvl1pPr>
              <a:defRPr lang="en-US" sz="3800" baseline="0" dirty="0" smtClean="0">
                <a:solidFill>
                  <a:schemeClr val="tx1"/>
                </a:solidFill>
              </a:defRPr>
            </a:lvl1pPr>
            <a:lvl2pPr>
              <a:defRPr lang="en-US" sz="3200" baseline="0" dirty="0" smtClean="0">
                <a:solidFill>
                  <a:schemeClr val="tx1"/>
                </a:solidFill>
              </a:defRPr>
            </a:lvl2pPr>
            <a:lvl3pPr>
              <a:defRPr lang="en-US" sz="2600" baseline="0" dirty="0" smtClean="0">
                <a:solidFill>
                  <a:schemeClr val="tx1"/>
                </a:solidFill>
              </a:defRPr>
            </a:lvl3pPr>
            <a:lvl4pPr>
              <a:defRPr lang="en-US" sz="2600" dirty="0" smtClean="0">
                <a:solidFill>
                  <a:schemeClr val="tx1"/>
                </a:solidFill>
              </a:defRPr>
            </a:lvl4pPr>
            <a:lvl5pPr>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2"/>
          </p:nvPr>
        </p:nvSpPr>
        <p:spPr>
          <a:xfrm>
            <a:off x="6510531" y="7343679"/>
            <a:ext cx="8119874" cy="4858874"/>
          </a:xfr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oAutofit/>
          </a:bodyPr>
          <a:lstStyle>
            <a:lvl1pPr>
              <a:defRPr lang="en-US" sz="3800" baseline="0" dirty="0" smtClean="0">
                <a:solidFill>
                  <a:schemeClr val="tx1"/>
                </a:solidFill>
              </a:defRPr>
            </a:lvl1pPr>
            <a:lvl2pPr>
              <a:defRPr lang="en-US" sz="3200" baseline="0" dirty="0" smtClean="0">
                <a:solidFill>
                  <a:schemeClr val="tx1"/>
                </a:solidFill>
              </a:defRPr>
            </a:lvl2pPr>
            <a:lvl3pPr>
              <a:defRPr lang="en-US" sz="2600" baseline="0" dirty="0" smtClean="0">
                <a:solidFill>
                  <a:schemeClr val="tx1"/>
                </a:solidFill>
              </a:defRPr>
            </a:lvl3pPr>
            <a:lvl4pPr>
              <a:defRPr lang="en-US" sz="2600" dirty="0" smtClean="0">
                <a:solidFill>
                  <a:schemeClr val="tx1"/>
                </a:solidFill>
              </a:defRPr>
            </a:lvl4pPr>
            <a:lvl5pPr>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p:cNvSpPr>
            <a:spLocks noGrp="1"/>
          </p:cNvSpPr>
          <p:nvPr>
            <p:ph idx="13"/>
          </p:nvPr>
        </p:nvSpPr>
        <p:spPr>
          <a:xfrm>
            <a:off x="15044931" y="7343679"/>
            <a:ext cx="8119874" cy="4858874"/>
          </a:xfr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oAutofit/>
          </a:bodyPr>
          <a:lstStyle>
            <a:lvl1pPr>
              <a:defRPr lang="en-US" sz="3800" baseline="0" dirty="0" smtClean="0">
                <a:solidFill>
                  <a:schemeClr val="tx1"/>
                </a:solidFill>
              </a:defRPr>
            </a:lvl1pPr>
            <a:lvl2pPr>
              <a:defRPr lang="en-US" sz="3200" baseline="0" dirty="0" smtClean="0">
                <a:solidFill>
                  <a:schemeClr val="tx1"/>
                </a:solidFill>
              </a:defRPr>
            </a:lvl2pPr>
            <a:lvl3pPr>
              <a:defRPr lang="en-US" sz="2600" baseline="0" dirty="0" smtClean="0">
                <a:solidFill>
                  <a:schemeClr val="tx1"/>
                </a:solidFill>
              </a:defRPr>
            </a:lvl3pPr>
            <a:lvl4pPr>
              <a:defRPr lang="en-US" sz="2600" dirty="0" smtClean="0">
                <a:solidFill>
                  <a:schemeClr val="tx1"/>
                </a:solidFill>
              </a:defRPr>
            </a:lvl4pPr>
            <a:lvl5pPr>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52"/>
          <p:cNvSpPr>
            <a:spLocks noGrp="1" noChangeArrowheads="1"/>
          </p:cNvSpPr>
          <p:nvPr>
            <p:ph type="sldNum" sz="quarter" idx="14"/>
          </p:nvPr>
        </p:nvSpPr>
        <p:spPr>
          <a:xfrm>
            <a:off x="832764" y="13009041"/>
            <a:ext cx="5664200" cy="292098"/>
          </a:xfrm>
          <a:prstGeom prst="rect">
            <a:avLst/>
          </a:prstGeom>
        </p:spPr>
        <p:txBody>
          <a:bodyPr/>
          <a:lstStyle>
            <a:lvl1pPr>
              <a:lnSpc>
                <a:spcPct val="100000"/>
              </a:lnSpc>
              <a:defRPr sz="2600" smtClean="0">
                <a:solidFill>
                  <a:schemeClr val="tx1"/>
                </a:solidFill>
                <a:latin typeface="Arial" pitchFamily="34" charset="0"/>
                <a:cs typeface="Arial" pitchFamily="34" charset="0"/>
              </a:defRPr>
            </a:lvl1pPr>
          </a:lstStyle>
          <a:p>
            <a:fld id="{F2104BB4-88E0-9547-9C3D-EE95037318C2}" type="slidenum">
              <a:rPr lang="en-US" smtClean="0"/>
              <a:t>‹#›</a:t>
            </a:fld>
            <a:endParaRPr lang="en-US"/>
          </a:p>
        </p:txBody>
      </p:sp>
      <p:pic>
        <p:nvPicPr>
          <p:cNvPr id="11" name="Picture 10"/>
          <p:cNvPicPr>
            <a:picLocks noChangeAspect="1"/>
          </p:cNvPicPr>
          <p:nvPr/>
        </p:nvPicPr>
        <p:blipFill>
          <a:blip r:embed="rId2"/>
          <a:stretch>
            <a:fillRect/>
          </a:stretch>
        </p:blipFill>
        <p:spPr>
          <a:xfrm>
            <a:off x="794055" y="646316"/>
            <a:ext cx="5696482" cy="436424"/>
          </a:xfrm>
          <a:prstGeom prst="rect">
            <a:avLst/>
          </a:prstGeom>
        </p:spPr>
      </p:pic>
    </p:spTree>
    <p:extLst>
      <p:ext uri="{BB962C8B-B14F-4D97-AF65-F5344CB8AC3E}">
        <p14:creationId xmlns:p14="http://schemas.microsoft.com/office/powerpoint/2010/main" val="157547685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55904" y="1950725"/>
            <a:ext cx="23038592" cy="761746"/>
          </a:xfrm>
        </p:spPr>
        <p:txBody>
          <a:bodyPr/>
          <a:lstStyle>
            <a:lvl1pPr>
              <a:defRPr sz="5400" b="0" i="0">
                <a:solidFill>
                  <a:schemeClr val="accent1"/>
                </a:solidFill>
                <a:latin typeface="IBM Plex Sans Regular" charset="0"/>
                <a:cs typeface="IBM Plex Sans Regular" charset="0"/>
              </a:defRPr>
            </a:lvl1pPr>
          </a:lstStyle>
          <a:p>
            <a:r>
              <a:rPr lang="en-US"/>
              <a:t>Click to edit Master title style</a:t>
            </a:r>
            <a:endParaRPr lang="en-US" dirty="0"/>
          </a:p>
        </p:txBody>
      </p:sp>
      <p:sp>
        <p:nvSpPr>
          <p:cNvPr id="4" name="Rectangle 52"/>
          <p:cNvSpPr>
            <a:spLocks noGrp="1" noChangeArrowheads="1"/>
          </p:cNvSpPr>
          <p:nvPr>
            <p:ph type="sldNum" sz="quarter" idx="10"/>
          </p:nvPr>
        </p:nvSpPr>
        <p:spPr>
          <a:xfrm>
            <a:off x="832764" y="13009041"/>
            <a:ext cx="5664200" cy="292098"/>
          </a:xfrm>
          <a:prstGeom prst="rect">
            <a:avLst/>
          </a:prstGeom>
        </p:spPr>
        <p:txBody>
          <a:bodyPr/>
          <a:lstStyle>
            <a:lvl1pPr>
              <a:lnSpc>
                <a:spcPct val="100000"/>
              </a:lnSpc>
              <a:defRPr sz="2600" smtClean="0">
                <a:solidFill>
                  <a:schemeClr val="tx1"/>
                </a:solidFill>
                <a:latin typeface="Arial" pitchFamily="34" charset="0"/>
                <a:cs typeface="Arial" pitchFamily="34" charset="0"/>
              </a:defRPr>
            </a:lvl1pPr>
          </a:lstStyle>
          <a:p>
            <a:fld id="{F2104BB4-88E0-9547-9C3D-EE95037318C2}" type="slidenum">
              <a:rPr lang="en-US" smtClean="0"/>
              <a:t>‹#›</a:t>
            </a:fld>
            <a:endParaRPr lang="en-US"/>
          </a:p>
        </p:txBody>
      </p:sp>
    </p:spTree>
    <p:extLst>
      <p:ext uri="{BB962C8B-B14F-4D97-AF65-F5344CB8AC3E}">
        <p14:creationId xmlns:p14="http://schemas.microsoft.com/office/powerpoint/2010/main" val="129236151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35465" y="-27092"/>
            <a:ext cx="24519466" cy="13803704"/>
          </a:xfrm>
          <a:prstGeom prst="rect">
            <a:avLst/>
          </a:prstGeom>
        </p:spPr>
      </p:pic>
      <p:sp>
        <p:nvSpPr>
          <p:cNvPr id="2" name="Title 1"/>
          <p:cNvSpPr>
            <a:spLocks noGrp="1"/>
          </p:cNvSpPr>
          <p:nvPr>
            <p:ph type="title"/>
          </p:nvPr>
        </p:nvSpPr>
        <p:spPr>
          <a:xfrm>
            <a:off x="755904" y="1950725"/>
            <a:ext cx="23038592" cy="761746"/>
          </a:xfrm>
        </p:spPr>
        <p:txBody>
          <a:bodyPr/>
          <a:lstStyle>
            <a:lvl1pPr>
              <a:defRPr sz="5400" b="0" i="0">
                <a:solidFill>
                  <a:schemeClr val="bg1"/>
                </a:solidFill>
                <a:latin typeface="IBM Plex Sans Regular" charset="0"/>
                <a:cs typeface="IBM Plex Sans Regular" charset="0"/>
              </a:defRPr>
            </a:lvl1pPr>
          </a:lstStyle>
          <a:p>
            <a:r>
              <a:rPr lang="en-US"/>
              <a:t>Click to edit Master title style</a:t>
            </a:r>
            <a:endParaRPr lang="en-US" dirty="0"/>
          </a:p>
        </p:txBody>
      </p:sp>
      <p:sp>
        <p:nvSpPr>
          <p:cNvPr id="4" name="Rectangle 52"/>
          <p:cNvSpPr>
            <a:spLocks noGrp="1" noChangeArrowheads="1"/>
          </p:cNvSpPr>
          <p:nvPr>
            <p:ph type="sldNum" sz="quarter" idx="10"/>
          </p:nvPr>
        </p:nvSpPr>
        <p:spPr>
          <a:xfrm>
            <a:off x="832764" y="13009041"/>
            <a:ext cx="5664200" cy="292098"/>
          </a:xfrm>
          <a:prstGeom prst="rect">
            <a:avLst/>
          </a:prstGeom>
        </p:spPr>
        <p:txBody>
          <a:bodyPr/>
          <a:lstStyle>
            <a:lvl1pPr>
              <a:lnSpc>
                <a:spcPct val="100000"/>
              </a:lnSpc>
              <a:defRPr sz="2600" smtClean="0">
                <a:solidFill>
                  <a:schemeClr val="tx1"/>
                </a:solidFill>
                <a:latin typeface="Arial" pitchFamily="34" charset="0"/>
                <a:cs typeface="Arial" pitchFamily="34" charset="0"/>
              </a:defRPr>
            </a:lvl1pPr>
          </a:lstStyle>
          <a:p>
            <a:fld id="{F2104BB4-88E0-9547-9C3D-EE95037318C2}" type="slidenum">
              <a:rPr lang="en-US" smtClean="0"/>
              <a:t>‹#›</a:t>
            </a:fld>
            <a:endParaRPr lang="en-US"/>
          </a:p>
        </p:txBody>
      </p:sp>
      <p:pic>
        <p:nvPicPr>
          <p:cNvPr id="7" name="Picture 6"/>
          <p:cNvPicPr>
            <a:picLocks noChangeAspect="1"/>
          </p:cNvPicPr>
          <p:nvPr/>
        </p:nvPicPr>
        <p:blipFill>
          <a:blip r:embed="rId3"/>
          <a:stretch>
            <a:fillRect/>
          </a:stretch>
        </p:blipFill>
        <p:spPr>
          <a:xfrm>
            <a:off x="775835" y="640329"/>
            <a:ext cx="5724298" cy="440330"/>
          </a:xfrm>
          <a:prstGeom prst="rect">
            <a:avLst/>
          </a:prstGeom>
        </p:spPr>
      </p:pic>
      <p:pic>
        <p:nvPicPr>
          <p:cNvPr id="10" name="Picture 9"/>
          <p:cNvPicPr>
            <a:picLocks noChangeAspect="1"/>
          </p:cNvPicPr>
          <p:nvPr/>
        </p:nvPicPr>
        <p:blipFill>
          <a:blip r:embed="rId4"/>
          <a:stretch>
            <a:fillRect/>
          </a:stretch>
        </p:blipFill>
        <p:spPr>
          <a:xfrm>
            <a:off x="22654125" y="12993499"/>
            <a:ext cx="954110" cy="366966"/>
          </a:xfrm>
          <a:prstGeom prst="rect">
            <a:avLst/>
          </a:prstGeom>
        </p:spPr>
      </p:pic>
    </p:spTree>
    <p:extLst>
      <p:ext uri="{BB962C8B-B14F-4D97-AF65-F5344CB8AC3E}">
        <p14:creationId xmlns:p14="http://schemas.microsoft.com/office/powerpoint/2010/main" val="244375636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cSld name="Title with Text">
    <p:spTree>
      <p:nvGrpSpPr>
        <p:cNvPr id="1" name=""/>
        <p:cNvGrpSpPr/>
        <p:nvPr/>
      </p:nvGrpSpPr>
      <p:grpSpPr>
        <a:xfrm>
          <a:off x="0" y="0"/>
          <a:ext cx="0" cy="0"/>
          <a:chOff x="0" y="0"/>
          <a:chExt cx="0" cy="0"/>
        </a:xfrm>
      </p:grpSpPr>
      <p:sp>
        <p:nvSpPr>
          <p:cNvPr id="2" name="Title 1"/>
          <p:cNvSpPr>
            <a:spLocks noGrp="1"/>
          </p:cNvSpPr>
          <p:nvPr>
            <p:ph type="title"/>
          </p:nvPr>
        </p:nvSpPr>
        <p:spPr>
          <a:xfrm>
            <a:off x="465403" y="302451"/>
            <a:ext cx="21624414" cy="1006478"/>
          </a:xfrm>
        </p:spPr>
        <p:txBody>
          <a:bodyPr>
            <a:noAutofit/>
          </a:bodyPr>
          <a:lstStyle>
            <a:lvl1pPr>
              <a:defRPr sz="3400"/>
            </a:lvl1pPr>
          </a:lstStyle>
          <a:p>
            <a:r>
              <a:rPr lang="en-US"/>
              <a:t>Click to edit Master title style</a:t>
            </a:r>
            <a:endParaRPr lang="en-US" dirty="0"/>
          </a:p>
        </p:txBody>
      </p:sp>
      <p:sp>
        <p:nvSpPr>
          <p:cNvPr id="5" name="Text Placeholder 4"/>
          <p:cNvSpPr>
            <a:spLocks noGrp="1"/>
          </p:cNvSpPr>
          <p:nvPr>
            <p:ph type="body" sz="quarter" idx="10"/>
          </p:nvPr>
        </p:nvSpPr>
        <p:spPr>
          <a:xfrm>
            <a:off x="1219200" y="2590810"/>
            <a:ext cx="20116800" cy="9448800"/>
          </a:xfrm>
          <a:prstGeom prst="rect">
            <a:avLst/>
          </a:prstGeom>
        </p:spPr>
        <p:txBody>
          <a:bodyPr/>
          <a:lstStyle>
            <a:lvl1pPr>
              <a:spcBef>
                <a:spcPts val="1518"/>
              </a:spcBef>
              <a:defRPr sz="2200"/>
            </a:lvl1pPr>
            <a:lvl2pPr>
              <a:defRPr sz="1800"/>
            </a:lvl2pPr>
            <a:lvl3pPr>
              <a:defRPr sz="1800">
                <a:solidFill>
                  <a:schemeClr val="tx1">
                    <a:lumMod val="50000"/>
                    <a:lumOff val="50000"/>
                  </a:schemeClr>
                </a:solidFill>
              </a:defRPr>
            </a:lvl3pPr>
            <a:lvl4pPr>
              <a:defRPr sz="1600">
                <a:solidFill>
                  <a:schemeClr val="tx1">
                    <a:lumMod val="50000"/>
                    <a:lumOff val="50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4" name="Object 12"/>
          <p:cNvGraphicFramePr>
            <a:graphicFrameLocks noChangeAspect="1"/>
          </p:cNvGraphicFramePr>
          <p:nvPr/>
        </p:nvGraphicFramePr>
        <p:xfrm>
          <a:off x="-18174" y="1400925"/>
          <a:ext cx="24402176" cy="91438"/>
        </p:xfrm>
        <a:graphic>
          <a:graphicData uri="http://schemas.openxmlformats.org/presentationml/2006/ole">
            <mc:AlternateContent xmlns:mc="http://schemas.openxmlformats.org/markup-compatibility/2006">
              <mc:Choice xmlns:v="urn:schemas-microsoft-com:vml" Requires="v">
                <p:oleObj name="Drawing" r:id="rId2" imgW="2523600" imgH="32400" progId="FLW3Drawing">
                  <p:embed/>
                </p:oleObj>
              </mc:Choice>
              <mc:Fallback>
                <p:oleObj name="Drawing" r:id="rId2" imgW="2523600" imgH="32400" progId="FLW3Drawing">
                  <p:embed/>
                  <p:pic>
                    <p:nvPicPr>
                      <p:cNvPr id="4" name="Object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74" y="1400925"/>
                        <a:ext cx="24402176" cy="914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5568000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3-1_Title and Content">
    <p:spTree>
      <p:nvGrpSpPr>
        <p:cNvPr id="1" name=""/>
        <p:cNvGrpSpPr/>
        <p:nvPr/>
      </p:nvGrpSpPr>
      <p:grpSpPr>
        <a:xfrm>
          <a:off x="0" y="0"/>
          <a:ext cx="0" cy="0"/>
          <a:chOff x="0" y="0"/>
          <a:chExt cx="0" cy="0"/>
        </a:xfrm>
      </p:grpSpPr>
      <p:sp>
        <p:nvSpPr>
          <p:cNvPr id="6" name="Rectangle 5"/>
          <p:cNvSpPr/>
          <p:nvPr/>
        </p:nvSpPr>
        <p:spPr>
          <a:xfrm flipV="1">
            <a:off x="0" y="7"/>
            <a:ext cx="24384000" cy="2250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defTabSz="1828634" hangingPunct="1"/>
            <a:endParaRPr lang="en-US" sz="2702" kern="1200">
              <a:solidFill>
                <a:srgbClr val="051243"/>
              </a:solidFill>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lIns="0" tIns="0" r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365564053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1339088"/>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a:solidFill>
                  <a:srgbClr val="000000"/>
                </a:solidFill>
              </a:rPr>
              <a:t>Think 2018 / DOC ID / Month XX, 2018 / © 2018 IBM Corporation</a:t>
            </a:r>
          </a:p>
        </p:txBody>
      </p:sp>
      <p:sp>
        <p:nvSpPr>
          <p:cNvPr id="6" name="Content Placeholder 5"/>
          <p:cNvSpPr>
            <a:spLocks noGrp="1"/>
          </p:cNvSpPr>
          <p:nvPr>
            <p:ph sz="quarter" idx="12"/>
          </p:nvPr>
        </p:nvSpPr>
        <p:spPr>
          <a:xfrm>
            <a:off x="609600" y="2654723"/>
            <a:ext cx="10972800" cy="9833618"/>
          </a:xfrm>
        </p:spPr>
        <p:txBody>
          <a:bodyPr/>
          <a:lstStyle>
            <a:lvl1pPr>
              <a:defRPr sz="6394"/>
            </a:lvl1pPr>
          </a:lstStyle>
          <a:p>
            <a:pPr lvl="0"/>
            <a:r>
              <a:rPr lang="en-US" dirty="0"/>
              <a:t>Edit Master text styles</a:t>
            </a:r>
          </a:p>
        </p:txBody>
      </p:sp>
      <p:sp>
        <p:nvSpPr>
          <p:cNvPr id="8" name="Content Placeholder 7"/>
          <p:cNvSpPr>
            <a:spLocks noGrp="1"/>
          </p:cNvSpPr>
          <p:nvPr>
            <p:ph sz="quarter" idx="13"/>
          </p:nvPr>
        </p:nvSpPr>
        <p:spPr>
          <a:xfrm>
            <a:off x="12801600" y="2977735"/>
            <a:ext cx="10972800" cy="9510606"/>
          </a:xfrm>
        </p:spPr>
        <p:txBody>
          <a:bodyPr/>
          <a:lstStyle>
            <a:lvl1pPr>
              <a:defRPr sz="3730"/>
            </a:lvl1pPr>
            <a:lvl2pPr>
              <a:defRPr sz="3730"/>
            </a:lvl2pPr>
            <a:lvl3pPr>
              <a:defRPr sz="3730"/>
            </a:lvl3pPr>
            <a:lvl4pPr>
              <a:defRPr sz="3730"/>
            </a:lvl4pPr>
            <a:lvl5pPr>
              <a:defRPr sz="373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23036914"/>
      </p:ext>
    </p:extLst>
  </p:cSld>
  <p:clrMapOvr>
    <a:masterClrMapping/>
  </p:clrMapOvr>
  <p:hf hdr="0" dt="0"/>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34" name="Slide Number"/>
          <p:cNvSpPr txBox="1">
            <a:spLocks noGrp="1"/>
          </p:cNvSpPr>
          <p:nvPr>
            <p:ph type="sldNum" sz="quarter" idx="2"/>
          </p:nvPr>
        </p:nvSpPr>
        <p:spPr>
          <a:xfrm>
            <a:off x="22957892" y="12697882"/>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524593209"/>
      </p:ext>
    </p:extLst>
  </p:cSld>
  <p:clrMapOvr>
    <a:masterClrMapping/>
  </p:clrMapOvr>
  <p:transition spd="med"/>
</p:sldLayout>
</file>

<file path=ppt/slideLayouts/slideLayout278.xml><?xml version="1.0" encoding="utf-8"?>
<p:sldLayout xmlns:a="http://schemas.openxmlformats.org/drawingml/2006/main" xmlns:r="http://schemas.openxmlformats.org/officeDocument/2006/relationships" xmlns:p="http://schemas.openxmlformats.org/presentationml/2006/main" type="tx">
  <p:cSld name="closing - black">
    <p:spTree>
      <p:nvGrpSpPr>
        <p:cNvPr id="1" name=""/>
        <p:cNvGrpSpPr/>
        <p:nvPr/>
      </p:nvGrpSpPr>
      <p:grpSpPr>
        <a:xfrm>
          <a:off x="0" y="0"/>
          <a:ext cx="0" cy="0"/>
          <a:chOff x="0" y="0"/>
          <a:chExt cx="0" cy="0"/>
        </a:xfrm>
      </p:grpSpPr>
      <p:sp>
        <p:nvSpPr>
          <p:cNvPr id="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04360990"/>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x">
  <p:cSld name="title, text (two columns, different text sizes)">
    <p:spTree>
      <p:nvGrpSpPr>
        <p:cNvPr id="1" name=""/>
        <p:cNvGrpSpPr/>
        <p:nvPr/>
      </p:nvGrpSpPr>
      <p:grpSpPr>
        <a:xfrm>
          <a:off x="0" y="0"/>
          <a:ext cx="0" cy="0"/>
          <a:chOff x="0" y="0"/>
          <a:chExt cx="0" cy="0"/>
        </a:xfrm>
      </p:grpSpPr>
      <p:grpSp>
        <p:nvGrpSpPr>
          <p:cNvPr id="374" name="Group 1"/>
          <p:cNvGrpSpPr/>
          <p:nvPr/>
        </p:nvGrpSpPr>
        <p:grpSpPr>
          <a:xfrm>
            <a:off x="-292614" y="-292947"/>
            <a:ext cx="24971255" cy="14305281"/>
            <a:chOff x="0" y="0"/>
            <a:chExt cx="24971254" cy="14305280"/>
          </a:xfrm>
        </p:grpSpPr>
        <p:grpSp>
          <p:nvGrpSpPr>
            <p:cNvPr id="341" name="Group 59"/>
            <p:cNvGrpSpPr/>
            <p:nvPr/>
          </p:nvGrpSpPr>
          <p:grpSpPr>
            <a:xfrm>
              <a:off x="903906" y="-1"/>
              <a:ext cx="23164620" cy="243842"/>
              <a:chOff x="0" y="0"/>
              <a:chExt cx="23164618" cy="243840"/>
            </a:xfrm>
          </p:grpSpPr>
          <p:sp>
            <p:nvSpPr>
              <p:cNvPr id="33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53" name="Group 60"/>
            <p:cNvGrpSpPr/>
            <p:nvPr/>
          </p:nvGrpSpPr>
          <p:grpSpPr>
            <a:xfrm>
              <a:off x="903906" y="14061440"/>
              <a:ext cx="23164620" cy="243841"/>
              <a:chOff x="0" y="0"/>
              <a:chExt cx="23164618" cy="243840"/>
            </a:xfrm>
          </p:grpSpPr>
          <p:sp>
            <p:nvSpPr>
              <p:cNvPr id="34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63" name="Group 61"/>
            <p:cNvGrpSpPr/>
            <p:nvPr/>
          </p:nvGrpSpPr>
          <p:grpSpPr>
            <a:xfrm>
              <a:off x="-1" y="926930"/>
              <a:ext cx="243842" cy="12438551"/>
              <a:chOff x="0" y="0"/>
              <a:chExt cx="243840" cy="12438549"/>
            </a:xfrm>
          </p:grpSpPr>
          <p:sp>
            <p:nvSpPr>
              <p:cNvPr id="35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73" name="Group 62"/>
            <p:cNvGrpSpPr/>
            <p:nvPr/>
          </p:nvGrpSpPr>
          <p:grpSpPr>
            <a:xfrm>
              <a:off x="24727414" y="926930"/>
              <a:ext cx="243841" cy="12435842"/>
              <a:chOff x="0" y="0"/>
              <a:chExt cx="243840" cy="12435840"/>
            </a:xfrm>
          </p:grpSpPr>
          <p:sp>
            <p:nvSpPr>
              <p:cNvPr id="36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375" name="Title Text"/>
          <p:cNvSpPr txBox="1">
            <a:spLocks noGrp="1"/>
          </p:cNvSpPr>
          <p:nvPr>
            <p:ph type="title"/>
          </p:nvPr>
        </p:nvSpPr>
        <p:spPr>
          <a:xfrm>
            <a:off x="649731" y="372533"/>
            <a:ext cx="11045953" cy="2145793"/>
          </a:xfrm>
          <a:prstGeom prst="rect">
            <a:avLst/>
          </a:prstGeom>
        </p:spPr>
        <p:txBody>
          <a:bodyPr>
            <a:normAutofit/>
          </a:bodyPr>
          <a:lstStyle>
            <a:lvl1pPr defTabSz="2438400">
              <a:defRPr b="0">
                <a:solidFill>
                  <a:srgbClr val="FFFFFF"/>
                </a:solidFill>
              </a:defRPr>
            </a:lvl1pPr>
          </a:lstStyle>
          <a:p>
            <a:r>
              <a:t>Title Text</a:t>
            </a:r>
          </a:p>
        </p:txBody>
      </p:sp>
      <p:sp>
        <p:nvSpPr>
          <p:cNvPr id="376" name="Body Level One…"/>
          <p:cNvSpPr txBox="1">
            <a:spLocks noGrp="1"/>
          </p:cNvSpPr>
          <p:nvPr>
            <p:ph type="body" sz="half" idx="1"/>
          </p:nvPr>
        </p:nvSpPr>
        <p:spPr>
          <a:xfrm>
            <a:off x="649731" y="3281171"/>
            <a:ext cx="11045953" cy="8745729"/>
          </a:xfrm>
          <a:prstGeom prst="rect">
            <a:avLst/>
          </a:prstGeom>
        </p:spPr>
        <p:txBody>
          <a:bodyPr/>
          <a:lstStyle>
            <a:lvl1pPr defTabSz="2438400">
              <a:lnSpc>
                <a:spcPct val="100000"/>
              </a:lnSpc>
              <a:spcBef>
                <a:spcPts val="2900"/>
              </a:spcBef>
              <a:defRPr sz="6400">
                <a:solidFill>
                  <a:srgbClr val="FFFFFF"/>
                </a:solidFill>
              </a:defRPr>
            </a:lvl1pPr>
            <a:lvl2pPr marL="791937" indent="-794221" defTabSz="2438400">
              <a:lnSpc>
                <a:spcPct val="100000"/>
              </a:lnSpc>
              <a:spcBef>
                <a:spcPts val="2900"/>
              </a:spcBef>
              <a:buChar char="–"/>
              <a:defRPr sz="6400">
                <a:solidFill>
                  <a:srgbClr val="FFFFFF"/>
                </a:solidFill>
              </a:defRPr>
            </a:lvl2pPr>
            <a:lvl3pPr marL="963390" indent="-794221" defTabSz="2438400">
              <a:lnSpc>
                <a:spcPct val="100000"/>
              </a:lnSpc>
              <a:spcBef>
                <a:spcPts val="2900"/>
              </a:spcBef>
              <a:defRPr sz="6400">
                <a:solidFill>
                  <a:srgbClr val="FFFFFF"/>
                </a:solidFill>
              </a:defRPr>
            </a:lvl3pPr>
            <a:lvl4pPr marL="1249143" indent="-794221" defTabSz="2438400">
              <a:lnSpc>
                <a:spcPct val="100000"/>
              </a:lnSpc>
              <a:spcBef>
                <a:spcPts val="2900"/>
              </a:spcBef>
              <a:buChar char="–"/>
              <a:defRPr sz="6400">
                <a:solidFill>
                  <a:srgbClr val="FFFFFF"/>
                </a:solidFill>
              </a:defRPr>
            </a:lvl4pPr>
            <a:lvl5pPr marL="1423770" indent="-794221" defTabSz="2438400">
              <a:lnSpc>
                <a:spcPct val="100000"/>
              </a:lnSpc>
              <a:spcBef>
                <a:spcPts val="2900"/>
              </a:spcBef>
              <a:buChar char="»"/>
              <a:defRPr sz="64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377" name="Text Placeholder"/>
          <p:cNvSpPr>
            <a:spLocks noGrp="1"/>
          </p:cNvSpPr>
          <p:nvPr>
            <p:ph type="body" sz="half" idx="21"/>
          </p:nvPr>
        </p:nvSpPr>
        <p:spPr>
          <a:xfrm>
            <a:off x="12777216" y="3316223"/>
            <a:ext cx="10997185" cy="8672575"/>
          </a:xfrm>
          <a:prstGeom prst="rect">
            <a:avLst/>
          </a:prstGeom>
        </p:spPr>
        <p:txBody>
          <a:bodyPr/>
          <a:lstStyle/>
          <a:p>
            <a:pPr defTabSz="2438400">
              <a:lnSpc>
                <a:spcPct val="100000"/>
              </a:lnSpc>
              <a:spcBef>
                <a:spcPts val="2900"/>
              </a:spcBef>
              <a:defRPr sz="3600" b="1">
                <a:solidFill>
                  <a:srgbClr val="FFFFFF"/>
                </a:solidFill>
                <a:latin typeface="Arial"/>
                <a:ea typeface="Arial"/>
                <a:cs typeface="Arial"/>
                <a:sym typeface="Arial"/>
              </a:defRPr>
            </a:pPr>
            <a:endParaRPr/>
          </a:p>
        </p:txBody>
      </p:sp>
      <p:pic>
        <p:nvPicPr>
          <p:cNvPr id="378"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379"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380"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019200074"/>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3403601"/>
            <a:ext cx="24384000" cy="10312399"/>
          </a:xfrm>
        </p:spPr>
        <p:txBody>
          <a:bodyPr lIns="91440" tIns="91440" rIns="91440" bIns="91440"/>
          <a:lstStyle/>
          <a:p>
            <a:r>
              <a:rPr lang="en-US"/>
              <a:t>Click icon to add picture</a:t>
            </a:r>
          </a:p>
        </p:txBody>
      </p:sp>
      <p:sp>
        <p:nvSpPr>
          <p:cNvPr id="2" name="Title 1"/>
          <p:cNvSpPr>
            <a:spLocks noGrp="1"/>
          </p:cNvSpPr>
          <p:nvPr>
            <p:ph type="title"/>
          </p:nvPr>
        </p:nvSpPr>
        <p:spPr>
          <a:xfrm>
            <a:off x="0" y="0"/>
            <a:ext cx="24384000" cy="3403601"/>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7044438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x">
  <p:cSld name="cover">
    <p:spTree>
      <p:nvGrpSpPr>
        <p:cNvPr id="1" name=""/>
        <p:cNvGrpSpPr/>
        <p:nvPr/>
      </p:nvGrpSpPr>
      <p:grpSpPr>
        <a:xfrm>
          <a:off x="0" y="0"/>
          <a:ext cx="0" cy="0"/>
          <a:chOff x="0" y="0"/>
          <a:chExt cx="0" cy="0"/>
        </a:xfrm>
      </p:grpSpPr>
      <p:grpSp>
        <p:nvGrpSpPr>
          <p:cNvPr id="431" name="Group 1"/>
          <p:cNvGrpSpPr/>
          <p:nvPr/>
        </p:nvGrpSpPr>
        <p:grpSpPr>
          <a:xfrm>
            <a:off x="-292614" y="-292947"/>
            <a:ext cx="24971255" cy="14305281"/>
            <a:chOff x="0" y="0"/>
            <a:chExt cx="24971254" cy="14305280"/>
          </a:xfrm>
        </p:grpSpPr>
        <p:grpSp>
          <p:nvGrpSpPr>
            <p:cNvPr id="398" name="Group 59"/>
            <p:cNvGrpSpPr/>
            <p:nvPr/>
          </p:nvGrpSpPr>
          <p:grpSpPr>
            <a:xfrm>
              <a:off x="903906" y="-1"/>
              <a:ext cx="23164620" cy="243842"/>
              <a:chOff x="0" y="0"/>
              <a:chExt cx="23164618" cy="243840"/>
            </a:xfrm>
          </p:grpSpPr>
          <p:sp>
            <p:nvSpPr>
              <p:cNvPr id="387"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8"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9"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0"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1"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2"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3"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4"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5"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6"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7"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10" name="Group 60"/>
            <p:cNvGrpSpPr/>
            <p:nvPr/>
          </p:nvGrpSpPr>
          <p:grpSpPr>
            <a:xfrm>
              <a:off x="903906" y="14061440"/>
              <a:ext cx="23164620" cy="243841"/>
              <a:chOff x="0" y="0"/>
              <a:chExt cx="23164618" cy="243840"/>
            </a:xfrm>
          </p:grpSpPr>
          <p:sp>
            <p:nvSpPr>
              <p:cNvPr id="399"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0"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1"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2"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3"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4"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5"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6"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7"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8"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9"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20" name="Group 61"/>
            <p:cNvGrpSpPr/>
            <p:nvPr/>
          </p:nvGrpSpPr>
          <p:grpSpPr>
            <a:xfrm>
              <a:off x="-1" y="926930"/>
              <a:ext cx="243842" cy="12438551"/>
              <a:chOff x="0" y="0"/>
              <a:chExt cx="243840" cy="12438549"/>
            </a:xfrm>
          </p:grpSpPr>
          <p:sp>
            <p:nvSpPr>
              <p:cNvPr id="411"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2"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3"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4"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5"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6"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7"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8"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9"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30" name="Group 62"/>
            <p:cNvGrpSpPr/>
            <p:nvPr/>
          </p:nvGrpSpPr>
          <p:grpSpPr>
            <a:xfrm>
              <a:off x="24727414" y="926930"/>
              <a:ext cx="243841" cy="12435842"/>
              <a:chOff x="0" y="0"/>
              <a:chExt cx="243840" cy="12435840"/>
            </a:xfrm>
          </p:grpSpPr>
          <p:sp>
            <p:nvSpPr>
              <p:cNvPr id="421"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2"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3"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4"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5"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6"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7"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8"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9"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432" name="Title Text"/>
          <p:cNvSpPr txBox="1"/>
          <p:nvPr/>
        </p:nvSpPr>
        <p:spPr>
          <a:xfrm>
            <a:off x="649731" y="372533"/>
            <a:ext cx="11045953" cy="21457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FFFFFF"/>
                </a:solidFill>
                <a:latin typeface="IBM Plex Sans"/>
                <a:ea typeface="IBM Plex Sans"/>
                <a:cs typeface="IBM Plex Sans"/>
                <a:sym typeface="IBM Plex Sans"/>
              </a:defRPr>
            </a:lvl1pPr>
          </a:lstStyle>
          <a:p>
            <a:r>
              <a:t>Title Text</a:t>
            </a:r>
          </a:p>
        </p:txBody>
      </p:sp>
      <p:pic>
        <p:nvPicPr>
          <p:cNvPr id="433"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43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435" name="Slide Number"/>
          <p:cNvSpPr txBox="1">
            <a:spLocks noGrp="1"/>
          </p:cNvSpPr>
          <p:nvPr>
            <p:ph type="sldNum" sz="quarter" idx="2"/>
          </p:nvPr>
        </p:nvSpPr>
        <p:spPr>
          <a:xfrm>
            <a:off x="11785599" y="12344399"/>
            <a:ext cx="5689601" cy="736601"/>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4245123157"/>
      </p:ext>
    </p:extLst>
  </p:cSld>
  <p:clrMapOvr>
    <a:masterClrMapping/>
  </p:clrMapOvr>
  <p:transition spd="med"/>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tx">
  <p:cSld name="title, text (1/4), blank (3/4)">
    <p:bg>
      <p:bgPr>
        <a:solidFill>
          <a:srgbClr val="F4F4F4"/>
        </a:solidFill>
        <a:effectLst/>
      </p:bgPr>
    </p:bg>
    <p:spTree>
      <p:nvGrpSpPr>
        <p:cNvPr id="1" name=""/>
        <p:cNvGrpSpPr/>
        <p:nvPr/>
      </p:nvGrpSpPr>
      <p:grpSpPr>
        <a:xfrm>
          <a:off x="0" y="0"/>
          <a:ext cx="0" cy="0"/>
          <a:chOff x="0" y="0"/>
          <a:chExt cx="0" cy="0"/>
        </a:xfrm>
      </p:grpSpPr>
      <p:grpSp>
        <p:nvGrpSpPr>
          <p:cNvPr id="832" name="Group 58"/>
          <p:cNvGrpSpPr/>
          <p:nvPr/>
        </p:nvGrpSpPr>
        <p:grpSpPr>
          <a:xfrm>
            <a:off x="-292614" y="-292947"/>
            <a:ext cx="24971255" cy="14305281"/>
            <a:chOff x="0" y="0"/>
            <a:chExt cx="24971254" cy="14305280"/>
          </a:xfrm>
        </p:grpSpPr>
        <p:grpSp>
          <p:nvGrpSpPr>
            <p:cNvPr id="799" name="Group 59"/>
            <p:cNvGrpSpPr/>
            <p:nvPr/>
          </p:nvGrpSpPr>
          <p:grpSpPr>
            <a:xfrm>
              <a:off x="903906" y="-1"/>
              <a:ext cx="23164620" cy="243842"/>
              <a:chOff x="0" y="0"/>
              <a:chExt cx="23164618" cy="243840"/>
            </a:xfrm>
          </p:grpSpPr>
          <p:sp>
            <p:nvSpPr>
              <p:cNvPr id="78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8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11" name="Group 60"/>
            <p:cNvGrpSpPr/>
            <p:nvPr/>
          </p:nvGrpSpPr>
          <p:grpSpPr>
            <a:xfrm>
              <a:off x="903906" y="14061440"/>
              <a:ext cx="23164620" cy="243841"/>
              <a:chOff x="0" y="0"/>
              <a:chExt cx="23164618" cy="243840"/>
            </a:xfrm>
          </p:grpSpPr>
          <p:sp>
            <p:nvSpPr>
              <p:cNvPr id="80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21" name="Group 61"/>
            <p:cNvGrpSpPr/>
            <p:nvPr/>
          </p:nvGrpSpPr>
          <p:grpSpPr>
            <a:xfrm>
              <a:off x="-1" y="926930"/>
              <a:ext cx="243842" cy="12438551"/>
              <a:chOff x="0" y="0"/>
              <a:chExt cx="243840" cy="12438549"/>
            </a:xfrm>
          </p:grpSpPr>
          <p:sp>
            <p:nvSpPr>
              <p:cNvPr id="81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31" name="Group 62"/>
            <p:cNvGrpSpPr/>
            <p:nvPr/>
          </p:nvGrpSpPr>
          <p:grpSpPr>
            <a:xfrm>
              <a:off x="24727414" y="926930"/>
              <a:ext cx="243841" cy="12435842"/>
              <a:chOff x="0" y="0"/>
              <a:chExt cx="243840" cy="12435840"/>
            </a:xfrm>
          </p:grpSpPr>
          <p:sp>
            <p:nvSpPr>
              <p:cNvPr id="82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3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833"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834" name="Body Level One…"/>
          <p:cNvSpPr txBox="1">
            <a:spLocks noGrp="1"/>
          </p:cNvSpPr>
          <p:nvPr>
            <p:ph type="body" sz="quarter" idx="1"/>
          </p:nvPr>
        </p:nvSpPr>
        <p:spPr>
          <a:xfrm>
            <a:off x="585215" y="3341623"/>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875" name="Group"/>
          <p:cNvGrpSpPr/>
          <p:nvPr/>
        </p:nvGrpSpPr>
        <p:grpSpPr>
          <a:xfrm>
            <a:off x="-292614" y="-292947"/>
            <a:ext cx="24971255" cy="14305281"/>
            <a:chOff x="0" y="0"/>
            <a:chExt cx="24971254" cy="14305280"/>
          </a:xfrm>
        </p:grpSpPr>
        <p:sp>
          <p:nvSpPr>
            <p:cNvPr id="835"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6"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7"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8"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9"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0"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1"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2"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3"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4"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5"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6"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7"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8"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9"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0"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1"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2"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3"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4"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5"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6"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7"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8"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9"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0"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1"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2"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3"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4"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5"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6"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7"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8"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9"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0"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1"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2"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3"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4"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876"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877"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878"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412963081"/>
      </p:ext>
    </p:extLst>
  </p:cSld>
  <p:clrMapOvr>
    <a:masterClrMapping/>
  </p:clrMapOvr>
  <p:transition spd="med"/>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tx">
  <p:cSld name="boxes (3 med, 2 small)">
    <p:bg>
      <p:bgPr>
        <a:solidFill>
          <a:srgbClr val="F4F4F4"/>
        </a:solidFill>
        <a:effectLst/>
      </p:bgPr>
    </p:bg>
    <p:spTree>
      <p:nvGrpSpPr>
        <p:cNvPr id="1" name=""/>
        <p:cNvGrpSpPr/>
        <p:nvPr/>
      </p:nvGrpSpPr>
      <p:grpSpPr>
        <a:xfrm>
          <a:off x="0" y="0"/>
          <a:ext cx="0" cy="0"/>
          <a:chOff x="0" y="0"/>
          <a:chExt cx="0" cy="0"/>
        </a:xfrm>
      </p:grpSpPr>
      <p:grpSp>
        <p:nvGrpSpPr>
          <p:cNvPr id="929" name="Group 58"/>
          <p:cNvGrpSpPr/>
          <p:nvPr/>
        </p:nvGrpSpPr>
        <p:grpSpPr>
          <a:xfrm>
            <a:off x="-292614" y="-292947"/>
            <a:ext cx="24971255" cy="14305281"/>
            <a:chOff x="0" y="0"/>
            <a:chExt cx="24971254" cy="14305280"/>
          </a:xfrm>
        </p:grpSpPr>
        <p:grpSp>
          <p:nvGrpSpPr>
            <p:cNvPr id="896" name="Group 59"/>
            <p:cNvGrpSpPr/>
            <p:nvPr/>
          </p:nvGrpSpPr>
          <p:grpSpPr>
            <a:xfrm>
              <a:off x="903906" y="-1"/>
              <a:ext cx="23164620" cy="243842"/>
              <a:chOff x="0" y="0"/>
              <a:chExt cx="23164618" cy="243840"/>
            </a:xfrm>
          </p:grpSpPr>
          <p:sp>
            <p:nvSpPr>
              <p:cNvPr id="885"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6"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7"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8"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9"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0"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1"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2"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3"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4"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5"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08" name="Group 60"/>
            <p:cNvGrpSpPr/>
            <p:nvPr/>
          </p:nvGrpSpPr>
          <p:grpSpPr>
            <a:xfrm>
              <a:off x="903906" y="14061440"/>
              <a:ext cx="23164620" cy="243841"/>
              <a:chOff x="0" y="0"/>
              <a:chExt cx="23164618" cy="243840"/>
            </a:xfrm>
          </p:grpSpPr>
          <p:sp>
            <p:nvSpPr>
              <p:cNvPr id="897"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8"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9"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0"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1"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2"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3"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4"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5"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6"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7"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18" name="Group 61"/>
            <p:cNvGrpSpPr/>
            <p:nvPr/>
          </p:nvGrpSpPr>
          <p:grpSpPr>
            <a:xfrm>
              <a:off x="-1" y="926930"/>
              <a:ext cx="243842" cy="12438551"/>
              <a:chOff x="0" y="0"/>
              <a:chExt cx="243840" cy="12438549"/>
            </a:xfrm>
          </p:grpSpPr>
          <p:sp>
            <p:nvSpPr>
              <p:cNvPr id="909"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0"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1"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2"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3"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4"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5"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6"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7"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28" name="Group 62"/>
            <p:cNvGrpSpPr/>
            <p:nvPr/>
          </p:nvGrpSpPr>
          <p:grpSpPr>
            <a:xfrm>
              <a:off x="24727414" y="926930"/>
              <a:ext cx="243841" cy="12435842"/>
              <a:chOff x="0" y="0"/>
              <a:chExt cx="243840" cy="12435840"/>
            </a:xfrm>
          </p:grpSpPr>
          <p:sp>
            <p:nvSpPr>
              <p:cNvPr id="919"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0"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1"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2"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3"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4"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5"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6"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7"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930" name="Title Text"/>
          <p:cNvSpPr txBox="1">
            <a:spLocks noGrp="1"/>
          </p:cNvSpPr>
          <p:nvPr>
            <p:ph type="title"/>
          </p:nvPr>
        </p:nvSpPr>
        <p:spPr>
          <a:xfrm>
            <a:off x="-1" y="-3"/>
            <a:ext cx="12192001" cy="6858004"/>
          </a:xfrm>
          <a:prstGeom prst="rect">
            <a:avLst/>
          </a:prstGeom>
          <a:solidFill>
            <a:srgbClr val="0530AD"/>
          </a:solidFill>
        </p:spPr>
        <p:txBody>
          <a:bodyPr lIns="508000" tIns="508000" rIns="508000" bIns="508000">
            <a:normAutofit/>
          </a:bodyPr>
          <a:lstStyle>
            <a:lvl1pPr marL="101600" defTabSz="2438400">
              <a:defRPr b="0">
                <a:solidFill>
                  <a:srgbClr val="FFFFFF"/>
                </a:solidFill>
                <a:latin typeface="Arial"/>
                <a:ea typeface="Arial"/>
                <a:cs typeface="Arial"/>
                <a:sym typeface="Arial"/>
              </a:defRPr>
            </a:lvl1pPr>
          </a:lstStyle>
          <a:p>
            <a:r>
              <a:t>Title Text</a:t>
            </a:r>
          </a:p>
        </p:txBody>
      </p:sp>
      <p:sp>
        <p:nvSpPr>
          <p:cNvPr id="931" name="Body Level One…"/>
          <p:cNvSpPr txBox="1">
            <a:spLocks noGrp="1"/>
          </p:cNvSpPr>
          <p:nvPr>
            <p:ph type="body" sz="quarter" idx="1"/>
          </p:nvPr>
        </p:nvSpPr>
        <p:spPr>
          <a:xfrm>
            <a:off x="12192000" y="-1"/>
            <a:ext cx="6096000" cy="6858001"/>
          </a:xfrm>
          <a:prstGeom prst="rect">
            <a:avLst/>
          </a:prstGeom>
          <a:solidFill>
            <a:srgbClr val="0F62FE"/>
          </a:solidFill>
        </p:spPr>
        <p:txBody>
          <a:bodyPr lIns="558800" tIns="558800" rIns="558800" bIns="558800"/>
          <a:lstStyle>
            <a:lvl1pPr marL="50800" defTabSz="2438400">
              <a:lnSpc>
                <a:spcPct val="100000"/>
              </a:lnSpc>
              <a:spcBef>
                <a:spcPts val="2900"/>
              </a:spcBef>
              <a:defRPr sz="3600">
                <a:solidFill>
                  <a:srgbClr val="FFFFFF"/>
                </a:solidFill>
                <a:latin typeface="Arial"/>
                <a:ea typeface="Arial"/>
                <a:cs typeface="Arial"/>
                <a:sym typeface="Arial"/>
              </a:defRPr>
            </a:lvl1pPr>
            <a:lvl2pPr marL="495265" indent="-446749" defTabSz="2438400">
              <a:lnSpc>
                <a:spcPct val="100000"/>
              </a:lnSpc>
              <a:spcBef>
                <a:spcPts val="2900"/>
              </a:spcBef>
              <a:buChar char="–"/>
              <a:defRPr sz="3600">
                <a:solidFill>
                  <a:srgbClr val="FFFFFF"/>
                </a:solidFill>
                <a:latin typeface="Arial"/>
                <a:ea typeface="Arial"/>
                <a:cs typeface="Arial"/>
                <a:sym typeface="Arial"/>
              </a:defRPr>
            </a:lvl2pPr>
            <a:lvl3pPr marL="666718" indent="-446749" defTabSz="2438400">
              <a:lnSpc>
                <a:spcPct val="100000"/>
              </a:lnSpc>
              <a:spcBef>
                <a:spcPts val="2900"/>
              </a:spcBef>
              <a:defRPr sz="3600">
                <a:solidFill>
                  <a:srgbClr val="FFFFFF"/>
                </a:solidFill>
                <a:latin typeface="Arial"/>
                <a:ea typeface="Arial"/>
                <a:cs typeface="Arial"/>
                <a:sym typeface="Arial"/>
              </a:defRPr>
            </a:lvl3pPr>
            <a:lvl4pPr marL="952471" indent="-446749" defTabSz="2438400">
              <a:lnSpc>
                <a:spcPct val="100000"/>
              </a:lnSpc>
              <a:spcBef>
                <a:spcPts val="2900"/>
              </a:spcBef>
              <a:buChar char="–"/>
              <a:defRPr sz="3600">
                <a:solidFill>
                  <a:srgbClr val="FFFFFF"/>
                </a:solidFill>
                <a:latin typeface="Arial"/>
                <a:ea typeface="Arial"/>
                <a:cs typeface="Arial"/>
                <a:sym typeface="Arial"/>
              </a:defRPr>
            </a:lvl4pPr>
            <a:lvl5pPr marL="1127098" indent="-446749" defTabSz="2438400">
              <a:lnSpc>
                <a:spcPct val="100000"/>
              </a:lnSpc>
              <a:spcBef>
                <a:spcPts val="2900"/>
              </a:spcBef>
              <a:buChar char="»"/>
              <a:defRPr sz="36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972" name="Group"/>
          <p:cNvGrpSpPr/>
          <p:nvPr/>
        </p:nvGrpSpPr>
        <p:grpSpPr>
          <a:xfrm>
            <a:off x="-292614" y="-292947"/>
            <a:ext cx="24971255" cy="14305281"/>
            <a:chOff x="0" y="0"/>
            <a:chExt cx="24971254" cy="14305280"/>
          </a:xfrm>
        </p:grpSpPr>
        <p:sp>
          <p:nvSpPr>
            <p:cNvPr id="932"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3"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4"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5"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6"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7"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8"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9"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0"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1"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2"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3"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4"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5"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6"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7"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8"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9"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0"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1"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2"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3"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4"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5"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6"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7"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8"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9"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0"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1"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2"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3"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4"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5"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6"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7"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8"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9"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0"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1"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973"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974"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75"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095314863"/>
      </p:ext>
    </p:extLst>
  </p:cSld>
  <p:clrMapOvr>
    <a:masterClrMapping/>
  </p:clrMapOvr>
  <p:transition spd="med"/>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957892" y="12598399"/>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1" y="372533"/>
            <a:ext cx="11045953" cy="2145793"/>
          </a:xfrm>
          <a:prstGeom prst="rect">
            <a:avLst/>
          </a:prstGeom>
        </p:spPr>
        <p:txBody>
          <a:bodyPr/>
          <a:lstStyle>
            <a:lvl1pPr defTabSz="2438400">
              <a:lnSpc>
                <a:spcPct val="90000"/>
              </a:lnSpc>
              <a:spcBef>
                <a:spcPts val="0"/>
              </a:spcBef>
              <a:defRPr sz="6400"/>
            </a:lvl1pPr>
          </a:lstStyle>
          <a:p>
            <a:r>
              <a:t>Title Text</a:t>
            </a:r>
          </a:p>
        </p:txBody>
      </p:sp>
      <p:grpSp>
        <p:nvGrpSpPr>
          <p:cNvPr id="509" name="Group 59"/>
          <p:cNvGrpSpPr/>
          <p:nvPr/>
        </p:nvGrpSpPr>
        <p:grpSpPr>
          <a:xfrm>
            <a:off x="623992" y="-318348"/>
            <a:ext cx="23164620" cy="243841"/>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21" name="Group 60"/>
          <p:cNvGrpSpPr/>
          <p:nvPr/>
        </p:nvGrpSpPr>
        <p:grpSpPr>
          <a:xfrm>
            <a:off x="611292" y="13768494"/>
            <a:ext cx="23164620" cy="243841"/>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31" name="Group 61"/>
          <p:cNvGrpSpPr/>
          <p:nvPr/>
        </p:nvGrpSpPr>
        <p:grpSpPr>
          <a:xfrm>
            <a:off x="-419615" y="633983"/>
            <a:ext cx="243841" cy="12438551"/>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41" name="Group 62"/>
          <p:cNvGrpSpPr/>
          <p:nvPr/>
        </p:nvGrpSpPr>
        <p:grpSpPr>
          <a:xfrm>
            <a:off x="24434800" y="633983"/>
            <a:ext cx="243841" cy="12435842"/>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542" name="Straight Connector 92"/>
          <p:cNvSpPr/>
          <p:nvPr/>
        </p:nvSpPr>
        <p:spPr>
          <a:xfrm flipV="1">
            <a:off x="611292"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3" name="Straight Connector 93"/>
          <p:cNvSpPr/>
          <p:nvPr/>
        </p:nvSpPr>
        <p:spPr>
          <a:xfrm flipV="1">
            <a:off x="54880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4" name="Straight Connector 94"/>
          <p:cNvSpPr/>
          <p:nvPr/>
        </p:nvSpPr>
        <p:spPr>
          <a:xfrm flipV="1">
            <a:off x="61103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5" name="Straight Connector 95"/>
          <p:cNvSpPr/>
          <p:nvPr/>
        </p:nvSpPr>
        <p:spPr>
          <a:xfrm flipV="1">
            <a:off x="6707293"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6" name="Straight Connector 96"/>
          <p:cNvSpPr/>
          <p:nvPr/>
        </p:nvSpPr>
        <p:spPr>
          <a:xfrm flipV="1">
            <a:off x="11584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7" name="Straight Connector 97"/>
          <p:cNvSpPr/>
          <p:nvPr/>
        </p:nvSpPr>
        <p:spPr>
          <a:xfrm flipV="1">
            <a:off x="121936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8" name="Straight Connector 98"/>
          <p:cNvSpPr/>
          <p:nvPr/>
        </p:nvSpPr>
        <p:spPr>
          <a:xfrm flipV="1">
            <a:off x="128032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9" name="Straight Connector 99"/>
          <p:cNvSpPr/>
          <p:nvPr/>
        </p:nvSpPr>
        <p:spPr>
          <a:xfrm flipV="1">
            <a:off x="17680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0" name="Straight Connector 100"/>
          <p:cNvSpPr/>
          <p:nvPr/>
        </p:nvSpPr>
        <p:spPr>
          <a:xfrm flipV="1">
            <a:off x="182896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1" name="Straight Connector 101"/>
          <p:cNvSpPr/>
          <p:nvPr/>
        </p:nvSpPr>
        <p:spPr>
          <a:xfrm flipV="1">
            <a:off x="188992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2" name="Straight Connector 102"/>
          <p:cNvSpPr/>
          <p:nvPr/>
        </p:nvSpPr>
        <p:spPr>
          <a:xfrm flipV="1">
            <a:off x="23775911"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3"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4"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5"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6"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7"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8"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9"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0"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1"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2"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3"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4" name="Straight Connector 72"/>
          <p:cNvSpPr/>
          <p:nvPr/>
        </p:nvSpPr>
        <p:spPr>
          <a:xfrm flipH="1">
            <a:off x="-419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5" name="Straight Connector 73"/>
          <p:cNvSpPr/>
          <p:nvPr/>
        </p:nvSpPr>
        <p:spPr>
          <a:xfrm flipH="1">
            <a:off x="-419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6" name="Straight Connector 74"/>
          <p:cNvSpPr/>
          <p:nvPr/>
        </p:nvSpPr>
        <p:spPr>
          <a:xfrm flipH="1">
            <a:off x="-419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7" name="Straight Connector 75"/>
          <p:cNvSpPr/>
          <p:nvPr/>
        </p:nvSpPr>
        <p:spPr>
          <a:xfrm flipH="1">
            <a:off x="-419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8" name="Straight Connector 76"/>
          <p:cNvSpPr/>
          <p:nvPr/>
        </p:nvSpPr>
        <p:spPr>
          <a:xfrm flipH="1">
            <a:off x="-419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9" name="Straight Connector 77"/>
          <p:cNvSpPr/>
          <p:nvPr/>
        </p:nvSpPr>
        <p:spPr>
          <a:xfrm flipH="1">
            <a:off x="-419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0" name="Straight Connector 78"/>
          <p:cNvSpPr/>
          <p:nvPr/>
        </p:nvSpPr>
        <p:spPr>
          <a:xfrm flipH="1">
            <a:off x="-419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1" name="Straight Connector 79"/>
          <p:cNvSpPr/>
          <p:nvPr/>
        </p:nvSpPr>
        <p:spPr>
          <a:xfrm flipH="1">
            <a:off x="-419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2" name="Straight Connector 80"/>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3"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4"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5"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6"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7"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8"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9"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0"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1"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582"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583"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889988984"/>
      </p:ext>
    </p:extLst>
  </p:cSld>
  <p:clrMapOvr>
    <a:masterClrMapping/>
  </p:clrMapOvr>
  <p:transition spd="med"/>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34" name="Slide Number"/>
          <p:cNvSpPr txBox="1">
            <a:spLocks noGrp="1"/>
          </p:cNvSpPr>
          <p:nvPr>
            <p:ph type="sldNum" sz="quarter" idx="2"/>
          </p:nvPr>
        </p:nvSpPr>
        <p:spPr>
          <a:xfrm>
            <a:off x="22957892" y="12697882"/>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1492269672"/>
      </p:ext>
    </p:extLst>
  </p:cSld>
  <p:clrMapOvr>
    <a:masterClrMapping/>
  </p:clrMapOvr>
  <p:transition spd="med"/>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x">
  <p:cSld name="title">
    <p:spTree>
      <p:nvGrpSpPr>
        <p:cNvPr id="1" name=""/>
        <p:cNvGrpSpPr/>
        <p:nvPr/>
      </p:nvGrpSpPr>
      <p:grpSpPr>
        <a:xfrm>
          <a:off x="0" y="0"/>
          <a:ext cx="0" cy="0"/>
          <a:chOff x="0" y="0"/>
          <a:chExt cx="0" cy="0"/>
        </a:xfrm>
      </p:grpSpPr>
      <p:grpSp>
        <p:nvGrpSpPr>
          <p:cNvPr id="50" name="Group 45"/>
          <p:cNvGrpSpPr/>
          <p:nvPr/>
        </p:nvGrpSpPr>
        <p:grpSpPr>
          <a:xfrm>
            <a:off x="-778940" y="686975"/>
            <a:ext cx="287879" cy="12370321"/>
            <a:chOff x="0" y="0"/>
            <a:chExt cx="287877" cy="12370320"/>
          </a:xfrm>
        </p:grpSpPr>
        <p:sp>
          <p:nvSpPr>
            <p:cNvPr id="41"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2"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3"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4"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5"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6"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7"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8"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9"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grpSp>
        <p:nvGrpSpPr>
          <p:cNvPr id="60" name="Group 58"/>
          <p:cNvGrpSpPr/>
          <p:nvPr/>
        </p:nvGrpSpPr>
        <p:grpSpPr>
          <a:xfrm>
            <a:off x="24718892" y="686975"/>
            <a:ext cx="287879" cy="12370321"/>
            <a:chOff x="0" y="0"/>
            <a:chExt cx="287877" cy="12370320"/>
          </a:xfrm>
        </p:grpSpPr>
        <p:sp>
          <p:nvSpPr>
            <p:cNvPr id="51"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2"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3"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4"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5"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6"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7"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8"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9"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sp>
        <p:nvSpPr>
          <p:cNvPr id="61" name="Title Text"/>
          <p:cNvSpPr txBox="1">
            <a:spLocks noGrp="1"/>
          </p:cNvSpPr>
          <p:nvPr>
            <p:ph type="title"/>
          </p:nvPr>
        </p:nvSpPr>
        <p:spPr>
          <a:xfrm>
            <a:off x="1191804" y="3403600"/>
            <a:ext cx="18260909" cy="3427003"/>
          </a:xfrm>
          <a:prstGeom prst="rect">
            <a:avLst/>
          </a:prstGeom>
        </p:spPr>
        <p:txBody>
          <a:bodyPr>
            <a:normAutofit/>
          </a:bodyPr>
          <a:lstStyle>
            <a:lvl1pPr>
              <a:defRPr>
                <a:solidFill>
                  <a:srgbClr val="FFFFFF"/>
                </a:solidFill>
              </a:defRPr>
            </a:lvl1pPr>
          </a:lstStyle>
          <a:p>
            <a:r>
              <a:t>Title Text</a:t>
            </a:r>
          </a:p>
        </p:txBody>
      </p:sp>
      <p:sp>
        <p:nvSpPr>
          <p:cNvPr id="62" name="Title 1"/>
          <p:cNvSpPr txBox="1"/>
          <p:nvPr/>
        </p:nvSpPr>
        <p:spPr>
          <a:xfrm>
            <a:off x="1191804" y="8686000"/>
            <a:ext cx="18260908" cy="1066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algn="l" defTabSz="1828800">
              <a:lnSpc>
                <a:spcPct val="90000"/>
              </a:lnSpc>
              <a:defRPr sz="6400">
                <a:solidFill>
                  <a:srgbClr val="FFFFFF"/>
                </a:solidFill>
                <a:latin typeface="IBM Plex Sans"/>
                <a:ea typeface="IBM Plex Sans"/>
                <a:cs typeface="IBM Plex Sans"/>
                <a:sym typeface="IBM Plex Sans"/>
              </a:defRPr>
            </a:pPr>
            <a:r>
              <a:t>IBM</a:t>
            </a:r>
            <a:r>
              <a:rPr b="1"/>
              <a:t> Garage</a:t>
            </a:r>
          </a:p>
        </p:txBody>
      </p:sp>
      <p:sp>
        <p:nvSpPr>
          <p:cNvPr id="63" name="Body Level One…"/>
          <p:cNvSpPr txBox="1">
            <a:spLocks noGrp="1"/>
          </p:cNvSpPr>
          <p:nvPr>
            <p:ph type="body" sz="quarter" idx="1"/>
          </p:nvPr>
        </p:nvSpPr>
        <p:spPr>
          <a:xfrm>
            <a:off x="1191804" y="6885399"/>
            <a:ext cx="7290031" cy="1086780"/>
          </a:xfrm>
          <a:prstGeom prst="rect">
            <a:avLst/>
          </a:prstGeom>
        </p:spPr>
        <p:txBody>
          <a:bodyPr/>
          <a:lstStyle>
            <a:lvl1pPr>
              <a:defRPr sz="3600" b="1">
                <a:solidFill>
                  <a:srgbClr val="FFFFFF"/>
                </a:solidFill>
              </a:defRPr>
            </a:lvl1pPr>
            <a:lvl2pPr marL="1200150" indent="-857250">
              <a:defRPr sz="3600" b="1">
                <a:solidFill>
                  <a:srgbClr val="FFFFFF"/>
                </a:solidFill>
              </a:defRPr>
            </a:lvl2pPr>
            <a:lvl3pPr marL="1200150" indent="-514350">
              <a:defRPr sz="3600" b="1">
                <a:solidFill>
                  <a:srgbClr val="FFFFFF"/>
                </a:solidFill>
              </a:defRPr>
            </a:lvl3pPr>
            <a:lvl4pPr marL="1543050" indent="-514350">
              <a:defRPr sz="3600" b="1">
                <a:solidFill>
                  <a:srgbClr val="FFFFFF"/>
                </a:solidFill>
              </a:defRPr>
            </a:lvl4pPr>
            <a:lvl5pPr marL="2228850" indent="-857250">
              <a:defRPr sz="3600" b="1">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pic>
        <p:nvPicPr>
          <p:cNvPr id="64"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65"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66"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816387112"/>
      </p:ext>
    </p:extLst>
  </p:cSld>
  <p:clrMapOvr>
    <a:masterClrMapping/>
  </p:clrMapOvr>
  <p:transition spd="med"/>
</p:sldLayout>
</file>

<file path=ppt/slideLayouts/slideLayout286.xml><?xml version="1.0" encoding="utf-8"?>
<p:sldLayout xmlns:a="http://schemas.openxmlformats.org/drawingml/2006/main" xmlns:r="http://schemas.openxmlformats.org/officeDocument/2006/relationships" xmlns:p="http://schemas.openxmlformats.org/presentationml/2006/main" type="tx">
  <p:cSld name="closing - black">
    <p:spTree>
      <p:nvGrpSpPr>
        <p:cNvPr id="1" name=""/>
        <p:cNvGrpSpPr/>
        <p:nvPr/>
      </p:nvGrpSpPr>
      <p:grpSpPr>
        <a:xfrm>
          <a:off x="0" y="0"/>
          <a:ext cx="0" cy="0"/>
          <a:chOff x="0" y="0"/>
          <a:chExt cx="0" cy="0"/>
        </a:xfrm>
      </p:grpSpPr>
      <p:sp>
        <p:nvSpPr>
          <p:cNvPr id="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54550114"/>
      </p:ext>
    </p:extLst>
  </p:cSld>
  <p:clrMapOvr>
    <a:masterClrMapping/>
  </p:clrMapOvr>
  <p:transition spd="med"/>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x">
  <p:cSld name="title, text (split background)">
    <p:spTree>
      <p:nvGrpSpPr>
        <p:cNvPr id="1" name=""/>
        <p:cNvGrpSpPr/>
        <p:nvPr/>
      </p:nvGrpSpPr>
      <p:grpSpPr>
        <a:xfrm>
          <a:off x="0" y="0"/>
          <a:ext cx="0" cy="0"/>
          <a:chOff x="0" y="0"/>
          <a:chExt cx="0" cy="0"/>
        </a:xfrm>
      </p:grpSpPr>
      <p:grpSp>
        <p:nvGrpSpPr>
          <p:cNvPr id="91" name="Group 59"/>
          <p:cNvGrpSpPr/>
          <p:nvPr/>
        </p:nvGrpSpPr>
        <p:grpSpPr>
          <a:xfrm>
            <a:off x="611292" y="-292948"/>
            <a:ext cx="23164620" cy="243841"/>
            <a:chOff x="0" y="0"/>
            <a:chExt cx="23164618" cy="243840"/>
          </a:xfrm>
        </p:grpSpPr>
        <p:sp>
          <p:nvSpPr>
            <p:cNvPr id="8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3" name="Group 60"/>
          <p:cNvGrpSpPr/>
          <p:nvPr/>
        </p:nvGrpSpPr>
        <p:grpSpPr>
          <a:xfrm>
            <a:off x="611292" y="13768494"/>
            <a:ext cx="23164620" cy="243841"/>
            <a:chOff x="0" y="0"/>
            <a:chExt cx="23164618" cy="243840"/>
          </a:xfrm>
        </p:grpSpPr>
        <p:sp>
          <p:nvSpPr>
            <p:cNvPr id="9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13" name="Group 61"/>
          <p:cNvGrpSpPr/>
          <p:nvPr/>
        </p:nvGrpSpPr>
        <p:grpSpPr>
          <a:xfrm>
            <a:off x="-292615" y="633983"/>
            <a:ext cx="243841" cy="12438551"/>
            <a:chOff x="0" y="0"/>
            <a:chExt cx="243840" cy="12438549"/>
          </a:xfrm>
        </p:grpSpPr>
        <p:sp>
          <p:nvSpPr>
            <p:cNvPr id="10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23" name="Group 62"/>
          <p:cNvGrpSpPr/>
          <p:nvPr/>
        </p:nvGrpSpPr>
        <p:grpSpPr>
          <a:xfrm>
            <a:off x="24434800" y="633983"/>
            <a:ext cx="243841" cy="12435842"/>
            <a:chOff x="0" y="0"/>
            <a:chExt cx="243840" cy="12435840"/>
          </a:xfrm>
        </p:grpSpPr>
        <p:sp>
          <p:nvSpPr>
            <p:cNvPr id="11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2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2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2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124" name="Title Text"/>
          <p:cNvSpPr txBox="1">
            <a:spLocks noGrp="1"/>
          </p:cNvSpPr>
          <p:nvPr>
            <p:ph type="title"/>
          </p:nvPr>
        </p:nvSpPr>
        <p:spPr>
          <a:xfrm>
            <a:off x="662434" y="397933"/>
            <a:ext cx="11045772" cy="11452353"/>
          </a:xfrm>
          <a:prstGeom prst="rect">
            <a:avLst/>
          </a:prstGeom>
        </p:spPr>
        <p:txBody>
          <a:bodyPr>
            <a:normAutofit/>
          </a:bodyPr>
          <a:lstStyle>
            <a:lvl1pPr defTabSz="2438400">
              <a:defRPr b="0">
                <a:solidFill>
                  <a:srgbClr val="FFFFFF"/>
                </a:solidFill>
              </a:defRPr>
            </a:lvl1pPr>
          </a:lstStyle>
          <a:p>
            <a:r>
              <a:t>Title Text</a:t>
            </a:r>
          </a:p>
        </p:txBody>
      </p:sp>
      <p:sp>
        <p:nvSpPr>
          <p:cNvPr id="125" name="Cool gray 10 rectangle"/>
          <p:cNvSpPr/>
          <p:nvPr/>
        </p:nvSpPr>
        <p:spPr>
          <a:xfrm>
            <a:off x="12192000" y="-1"/>
            <a:ext cx="12192000" cy="13716001"/>
          </a:xfrm>
          <a:prstGeom prst="rect">
            <a:avLst/>
          </a:prstGeom>
          <a:solidFill>
            <a:srgbClr val="FFFFFF"/>
          </a:solidFill>
          <a:ln w="12700">
            <a:miter lim="400000"/>
          </a:ln>
        </p:spPr>
        <p:txBody>
          <a:bodyPr lIns="96000" tIns="96000" rIns="96000" bIns="96000" anchor="ctr"/>
          <a:lstStyle/>
          <a:p>
            <a:pPr defTabSz="1829287">
              <a:defRPr sz="3200" b="1">
                <a:solidFill>
                  <a:srgbClr val="FFFFFF"/>
                </a:solidFill>
                <a:latin typeface="Arial"/>
                <a:ea typeface="Arial"/>
                <a:cs typeface="Arial"/>
                <a:sym typeface="Arial"/>
              </a:defRPr>
            </a:pPr>
            <a:endParaRPr/>
          </a:p>
        </p:txBody>
      </p:sp>
      <p:sp>
        <p:nvSpPr>
          <p:cNvPr id="126" name="Body Level One…"/>
          <p:cNvSpPr txBox="1">
            <a:spLocks noGrp="1"/>
          </p:cNvSpPr>
          <p:nvPr>
            <p:ph type="body" sz="half" idx="1"/>
          </p:nvPr>
        </p:nvSpPr>
        <p:spPr>
          <a:xfrm>
            <a:off x="12777216" y="561847"/>
            <a:ext cx="10997185" cy="11452353"/>
          </a:xfrm>
          <a:prstGeom prst="rect">
            <a:avLst/>
          </a:prstGeom>
        </p:spPr>
        <p:txBody>
          <a:bodyPr/>
          <a:lstStyle>
            <a:lvl1pPr defTabSz="2438400">
              <a:lnSpc>
                <a:spcPct val="100000"/>
              </a:lnSpc>
              <a:spcBef>
                <a:spcPts val="2900"/>
              </a:spcBef>
              <a:defRPr sz="3600"/>
            </a:lvl1pPr>
            <a:lvl2pPr marL="444465" indent="-446749" defTabSz="2438400">
              <a:lnSpc>
                <a:spcPct val="100000"/>
              </a:lnSpc>
              <a:spcBef>
                <a:spcPts val="2900"/>
              </a:spcBef>
              <a:buChar char="–"/>
              <a:defRPr sz="3600"/>
            </a:lvl2pPr>
            <a:lvl3pPr marL="615918" indent="-446749" defTabSz="2438400">
              <a:lnSpc>
                <a:spcPct val="100000"/>
              </a:lnSpc>
              <a:spcBef>
                <a:spcPts val="2900"/>
              </a:spcBef>
              <a:defRPr sz="3600"/>
            </a:lvl3pPr>
            <a:lvl4pPr marL="901671" indent="-446749" defTabSz="2438400">
              <a:lnSpc>
                <a:spcPct val="100000"/>
              </a:lnSpc>
              <a:spcBef>
                <a:spcPts val="2900"/>
              </a:spcBef>
              <a:buChar char="–"/>
              <a:defRPr sz="3600"/>
            </a:lvl4pPr>
            <a:lvl5pPr marL="1076298" indent="-446749" defTabSz="2438400">
              <a:lnSpc>
                <a:spcPct val="100000"/>
              </a:lnSpc>
              <a:spcBef>
                <a:spcPts val="2900"/>
              </a:spcBef>
              <a:buChar char="»"/>
              <a:defRPr sz="3600"/>
            </a:lvl5pPr>
          </a:lstStyle>
          <a:p>
            <a:r>
              <a:t>Body Level One</a:t>
            </a:r>
          </a:p>
          <a:p>
            <a:pPr lvl="1"/>
            <a:r>
              <a:t>Body Level Two</a:t>
            </a:r>
          </a:p>
          <a:p>
            <a:pPr lvl="2"/>
            <a:r>
              <a:t>Body Level Three</a:t>
            </a:r>
          </a:p>
          <a:p>
            <a:pPr lvl="3"/>
            <a:r>
              <a:t>Body Level Four</a:t>
            </a:r>
          </a:p>
          <a:p>
            <a:pPr lvl="4"/>
            <a:r>
              <a:t>Body Level Five</a:t>
            </a:r>
          </a:p>
        </p:txBody>
      </p:sp>
      <p:sp>
        <p:nvSpPr>
          <p:cNvPr id="127" name="Straight Connector 92"/>
          <p:cNvSpPr/>
          <p:nvPr/>
        </p:nvSpPr>
        <p:spPr>
          <a:xfrm flipV="1">
            <a:off x="611292"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28" name="Straight Connector 93"/>
          <p:cNvSpPr/>
          <p:nvPr/>
        </p:nvSpPr>
        <p:spPr>
          <a:xfrm flipV="1">
            <a:off x="5488092"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29" name="Straight Connector 94"/>
          <p:cNvSpPr/>
          <p:nvPr/>
        </p:nvSpPr>
        <p:spPr>
          <a:xfrm flipV="1">
            <a:off x="6097692"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0" name="Straight Connector 95"/>
          <p:cNvSpPr/>
          <p:nvPr/>
        </p:nvSpPr>
        <p:spPr>
          <a:xfrm flipV="1">
            <a:off x="67072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1" name="Straight Connector 96"/>
          <p:cNvSpPr/>
          <p:nvPr/>
        </p:nvSpPr>
        <p:spPr>
          <a:xfrm flipV="1">
            <a:off x="115840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2" name="Straight Connector 97"/>
          <p:cNvSpPr/>
          <p:nvPr/>
        </p:nvSpPr>
        <p:spPr>
          <a:xfrm flipV="1">
            <a:off x="121936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3" name="Straight Connector 98"/>
          <p:cNvSpPr/>
          <p:nvPr/>
        </p:nvSpPr>
        <p:spPr>
          <a:xfrm flipV="1">
            <a:off x="128032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4" name="Straight Connector 99"/>
          <p:cNvSpPr/>
          <p:nvPr/>
        </p:nvSpPr>
        <p:spPr>
          <a:xfrm flipV="1">
            <a:off x="176800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5" name="Straight Connector 100"/>
          <p:cNvSpPr/>
          <p:nvPr/>
        </p:nvSpPr>
        <p:spPr>
          <a:xfrm flipV="1">
            <a:off x="18289694"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6" name="Straight Connector 101"/>
          <p:cNvSpPr/>
          <p:nvPr/>
        </p:nvSpPr>
        <p:spPr>
          <a:xfrm flipV="1">
            <a:off x="18899294"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7" name="Straight Connector 102"/>
          <p:cNvSpPr/>
          <p:nvPr/>
        </p:nvSpPr>
        <p:spPr>
          <a:xfrm flipV="1">
            <a:off x="23775911"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8"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9"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0"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1"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2"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3"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4"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5"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6"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7"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8"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9" name="Straight Connector 72"/>
          <p:cNvSpPr/>
          <p:nvPr/>
        </p:nvSpPr>
        <p:spPr>
          <a:xfrm flipH="1">
            <a:off x="-292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0" name="Straight Connector 73"/>
          <p:cNvSpPr/>
          <p:nvPr/>
        </p:nvSpPr>
        <p:spPr>
          <a:xfrm flipH="1">
            <a:off x="-292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1" name="Straight Connector 74"/>
          <p:cNvSpPr/>
          <p:nvPr/>
        </p:nvSpPr>
        <p:spPr>
          <a:xfrm flipH="1">
            <a:off x="-292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2" name="Straight Connector 75"/>
          <p:cNvSpPr/>
          <p:nvPr/>
        </p:nvSpPr>
        <p:spPr>
          <a:xfrm flipH="1">
            <a:off x="-292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3" name="Straight Connector 76"/>
          <p:cNvSpPr/>
          <p:nvPr/>
        </p:nvSpPr>
        <p:spPr>
          <a:xfrm flipH="1">
            <a:off x="-292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4" name="Straight Connector 77"/>
          <p:cNvSpPr/>
          <p:nvPr/>
        </p:nvSpPr>
        <p:spPr>
          <a:xfrm flipH="1">
            <a:off x="-292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5" name="Straight Connector 78"/>
          <p:cNvSpPr/>
          <p:nvPr/>
        </p:nvSpPr>
        <p:spPr>
          <a:xfrm flipH="1">
            <a:off x="-292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6" name="Straight Connector 79"/>
          <p:cNvSpPr/>
          <p:nvPr/>
        </p:nvSpPr>
        <p:spPr>
          <a:xfrm flipH="1">
            <a:off x="-292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7" name="Straight Connector 80"/>
          <p:cNvSpPr/>
          <p:nvPr/>
        </p:nvSpPr>
        <p:spPr>
          <a:xfrm flipH="1">
            <a:off x="-292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8"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9"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0"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1"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2"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3"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4"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5"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6"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167"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168"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169" name="Slide Number"/>
          <p:cNvSpPr txBox="1">
            <a:spLocks noGrp="1"/>
          </p:cNvSpPr>
          <p:nvPr>
            <p:ph type="sldNum" sz="quarter" idx="2"/>
          </p:nvPr>
        </p:nvSpPr>
        <p:spPr>
          <a:xfrm>
            <a:off x="23395760" y="12748682"/>
            <a:ext cx="378461" cy="406401"/>
          </a:xfrm>
          <a:prstGeom prst="rect">
            <a:avLst/>
          </a:prstGeom>
        </p:spPr>
        <p:txBody>
          <a:bodyPr/>
          <a:lstStyle>
            <a:lvl1pPr algn="r" defTabSz="1829287">
              <a:defRPr sz="24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2414833657"/>
      </p:ext>
    </p:extLst>
  </p:cSld>
  <p:clrMapOvr>
    <a:masterClrMapping/>
  </p:clrMapOvr>
  <p:transition spd="med"/>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tx">
  <p:cSld name="fact, number, half-image (bleeds)">
    <p:spTree>
      <p:nvGrpSpPr>
        <p:cNvPr id="1" name=""/>
        <p:cNvGrpSpPr/>
        <p:nvPr/>
      </p:nvGrpSpPr>
      <p:grpSpPr>
        <a:xfrm>
          <a:off x="0" y="0"/>
          <a:ext cx="0" cy="0"/>
          <a:chOff x="0" y="0"/>
          <a:chExt cx="0" cy="0"/>
        </a:xfrm>
      </p:grpSpPr>
      <p:grpSp>
        <p:nvGrpSpPr>
          <p:cNvPr id="220" name="Group 1"/>
          <p:cNvGrpSpPr/>
          <p:nvPr/>
        </p:nvGrpSpPr>
        <p:grpSpPr>
          <a:xfrm>
            <a:off x="-292614" y="-292947"/>
            <a:ext cx="24971255" cy="14305281"/>
            <a:chOff x="0" y="0"/>
            <a:chExt cx="24971254" cy="14305280"/>
          </a:xfrm>
        </p:grpSpPr>
        <p:grpSp>
          <p:nvGrpSpPr>
            <p:cNvPr id="187" name="Group 59"/>
            <p:cNvGrpSpPr/>
            <p:nvPr/>
          </p:nvGrpSpPr>
          <p:grpSpPr>
            <a:xfrm>
              <a:off x="903906" y="-1"/>
              <a:ext cx="23164620" cy="243842"/>
              <a:chOff x="0" y="0"/>
              <a:chExt cx="23164618" cy="243840"/>
            </a:xfrm>
          </p:grpSpPr>
          <p:sp>
            <p:nvSpPr>
              <p:cNvPr id="176"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77"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78"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79"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0"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1"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2"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3"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4"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5"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6"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99" name="Group 60"/>
            <p:cNvGrpSpPr/>
            <p:nvPr/>
          </p:nvGrpSpPr>
          <p:grpSpPr>
            <a:xfrm>
              <a:off x="903906" y="14061440"/>
              <a:ext cx="23164620" cy="243841"/>
              <a:chOff x="0" y="0"/>
              <a:chExt cx="23164618" cy="243840"/>
            </a:xfrm>
          </p:grpSpPr>
          <p:sp>
            <p:nvSpPr>
              <p:cNvPr id="188"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9"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0"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1"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2"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3"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4"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5"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6"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7"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8"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09" name="Group 61"/>
            <p:cNvGrpSpPr/>
            <p:nvPr/>
          </p:nvGrpSpPr>
          <p:grpSpPr>
            <a:xfrm>
              <a:off x="-1" y="926930"/>
              <a:ext cx="243842" cy="12438551"/>
              <a:chOff x="0" y="0"/>
              <a:chExt cx="243840" cy="12438549"/>
            </a:xfrm>
          </p:grpSpPr>
          <p:sp>
            <p:nvSpPr>
              <p:cNvPr id="200"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1"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2"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3"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4"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5"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6"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7"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8"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19" name="Group 62"/>
            <p:cNvGrpSpPr/>
            <p:nvPr/>
          </p:nvGrpSpPr>
          <p:grpSpPr>
            <a:xfrm>
              <a:off x="24727414" y="926930"/>
              <a:ext cx="243841" cy="12435842"/>
              <a:chOff x="0" y="0"/>
              <a:chExt cx="243840" cy="12435840"/>
            </a:xfrm>
          </p:grpSpPr>
          <p:sp>
            <p:nvSpPr>
              <p:cNvPr id="210"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1"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2"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3"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4"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5"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6"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7"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8"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221" name="Body Level One…"/>
          <p:cNvSpPr txBox="1">
            <a:spLocks noGrp="1"/>
          </p:cNvSpPr>
          <p:nvPr>
            <p:ph type="body" sz="half" idx="1"/>
          </p:nvPr>
        </p:nvSpPr>
        <p:spPr>
          <a:xfrm>
            <a:off x="627379" y="3213100"/>
            <a:ext cx="11216642" cy="8965185"/>
          </a:xfrm>
          <a:prstGeom prst="rect">
            <a:avLst/>
          </a:prstGeom>
        </p:spPr>
        <p:txBody>
          <a:bodyPr/>
          <a:lstStyle>
            <a:lvl1pPr defTabSz="2438400">
              <a:lnSpc>
                <a:spcPct val="90000"/>
              </a:lnSpc>
              <a:spcBef>
                <a:spcPts val="2900"/>
              </a:spcBef>
              <a:defRPr sz="25600" b="1">
                <a:solidFill>
                  <a:srgbClr val="FFFFFF"/>
                </a:solidFill>
              </a:defRPr>
            </a:lvl1pPr>
            <a:lvl2pPr marL="3174602" indent="-3176886" defTabSz="2438400">
              <a:lnSpc>
                <a:spcPct val="90000"/>
              </a:lnSpc>
              <a:spcBef>
                <a:spcPts val="2900"/>
              </a:spcBef>
              <a:buChar char="–"/>
              <a:defRPr sz="25600" b="1">
                <a:solidFill>
                  <a:srgbClr val="FFFFFF"/>
                </a:solidFill>
              </a:defRPr>
            </a:lvl2pPr>
            <a:lvl3pPr marL="3346055" indent="-3176886" defTabSz="2438400">
              <a:lnSpc>
                <a:spcPct val="90000"/>
              </a:lnSpc>
              <a:spcBef>
                <a:spcPts val="2900"/>
              </a:spcBef>
              <a:defRPr sz="25600" b="1">
                <a:solidFill>
                  <a:srgbClr val="FFFFFF"/>
                </a:solidFill>
              </a:defRPr>
            </a:lvl3pPr>
            <a:lvl4pPr marL="3631808" indent="-3176886" defTabSz="2438400">
              <a:lnSpc>
                <a:spcPct val="90000"/>
              </a:lnSpc>
              <a:spcBef>
                <a:spcPts val="2900"/>
              </a:spcBef>
              <a:buChar char="–"/>
              <a:defRPr sz="25600" b="1">
                <a:solidFill>
                  <a:srgbClr val="FFFFFF"/>
                </a:solidFill>
              </a:defRPr>
            </a:lvl4pPr>
            <a:lvl5pPr marL="3806435" indent="-3176886" defTabSz="2438400">
              <a:lnSpc>
                <a:spcPct val="90000"/>
              </a:lnSpc>
              <a:spcBef>
                <a:spcPts val="2900"/>
              </a:spcBef>
              <a:buChar char="»"/>
              <a:defRPr sz="25600" b="1">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22" name="Picture Placeholder"/>
          <p:cNvSpPr>
            <a:spLocks noGrp="1"/>
          </p:cNvSpPr>
          <p:nvPr>
            <p:ph type="pic" idx="21"/>
          </p:nvPr>
        </p:nvSpPr>
        <p:spPr>
          <a:xfrm>
            <a:off x="12192000" y="-1"/>
            <a:ext cx="12192000" cy="13716001"/>
          </a:xfrm>
          <a:prstGeom prst="rect">
            <a:avLst/>
          </a:prstGeom>
        </p:spPr>
        <p:txBody>
          <a:bodyPr lIns="91439" tIns="45719" rIns="91439" bIns="45719">
            <a:noAutofit/>
          </a:bodyPr>
          <a:lstStyle/>
          <a:p>
            <a:endParaRPr/>
          </a:p>
        </p:txBody>
      </p:sp>
      <p:sp>
        <p:nvSpPr>
          <p:cNvPr id="223"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
        <p:nvSpPr>
          <p:cNvPr id="224" name="Title Text"/>
          <p:cNvSpPr txBox="1">
            <a:spLocks noGrp="1"/>
          </p:cNvSpPr>
          <p:nvPr>
            <p:ph type="body" sz="quarter" idx="22"/>
          </p:nvPr>
        </p:nvSpPr>
        <p:spPr>
          <a:xfrm>
            <a:off x="636015" y="508000"/>
            <a:ext cx="11021570" cy="2145793"/>
          </a:xfrm>
          <a:prstGeom prst="rect">
            <a:avLst/>
          </a:prstGeom>
        </p:spPr>
        <p:txBody>
          <a:bodyPr/>
          <a:lstStyle>
            <a:lvl1pPr defTabSz="2438400">
              <a:lnSpc>
                <a:spcPct val="90000"/>
              </a:lnSpc>
              <a:spcBef>
                <a:spcPts val="0"/>
              </a:spcBef>
              <a:defRPr sz="4200">
                <a:solidFill>
                  <a:srgbClr val="FFFFFF"/>
                </a:solidFill>
              </a:defRPr>
            </a:lvl1pPr>
          </a:lstStyle>
          <a:p>
            <a:r>
              <a:t>Title Text</a:t>
            </a:r>
          </a:p>
        </p:txBody>
      </p:sp>
      <p:pic>
        <p:nvPicPr>
          <p:cNvPr id="225"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226"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Tree>
    <p:extLst>
      <p:ext uri="{BB962C8B-B14F-4D97-AF65-F5344CB8AC3E}">
        <p14:creationId xmlns:p14="http://schemas.microsoft.com/office/powerpoint/2010/main" val="1985867054"/>
      </p:ext>
    </p:extLst>
  </p:cSld>
  <p:clrMapOvr>
    <a:masterClrMapping/>
  </p:clrMapOvr>
  <p:transition spd="med"/>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tx">
  <p:cSld name="boxes (1 large, 4 small)">
    <p:spTree>
      <p:nvGrpSpPr>
        <p:cNvPr id="1" name=""/>
        <p:cNvGrpSpPr/>
        <p:nvPr/>
      </p:nvGrpSpPr>
      <p:grpSpPr>
        <a:xfrm>
          <a:off x="0" y="0"/>
          <a:ext cx="0" cy="0"/>
          <a:chOff x="0" y="0"/>
          <a:chExt cx="0" cy="0"/>
        </a:xfrm>
      </p:grpSpPr>
      <p:grpSp>
        <p:nvGrpSpPr>
          <p:cNvPr id="277" name="Group 1"/>
          <p:cNvGrpSpPr/>
          <p:nvPr/>
        </p:nvGrpSpPr>
        <p:grpSpPr>
          <a:xfrm>
            <a:off x="-292614" y="-292947"/>
            <a:ext cx="24971255" cy="14305281"/>
            <a:chOff x="0" y="0"/>
            <a:chExt cx="24971254" cy="14305280"/>
          </a:xfrm>
        </p:grpSpPr>
        <p:grpSp>
          <p:nvGrpSpPr>
            <p:cNvPr id="244" name="Group 59"/>
            <p:cNvGrpSpPr/>
            <p:nvPr/>
          </p:nvGrpSpPr>
          <p:grpSpPr>
            <a:xfrm>
              <a:off x="903906" y="-1"/>
              <a:ext cx="23164620" cy="243842"/>
              <a:chOff x="0" y="0"/>
              <a:chExt cx="23164618" cy="243840"/>
            </a:xfrm>
          </p:grpSpPr>
          <p:sp>
            <p:nvSpPr>
              <p:cNvPr id="233"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4"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5"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6"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7"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8"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9"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0"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1"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2"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3"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56" name="Group 60"/>
            <p:cNvGrpSpPr/>
            <p:nvPr/>
          </p:nvGrpSpPr>
          <p:grpSpPr>
            <a:xfrm>
              <a:off x="903906" y="14061440"/>
              <a:ext cx="23164620" cy="243841"/>
              <a:chOff x="0" y="0"/>
              <a:chExt cx="23164618" cy="243840"/>
            </a:xfrm>
          </p:grpSpPr>
          <p:sp>
            <p:nvSpPr>
              <p:cNvPr id="245"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6"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7"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8"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9"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0"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1"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2"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3"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4"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5"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66" name="Group 61"/>
            <p:cNvGrpSpPr/>
            <p:nvPr/>
          </p:nvGrpSpPr>
          <p:grpSpPr>
            <a:xfrm>
              <a:off x="-1" y="926930"/>
              <a:ext cx="243842" cy="12438551"/>
              <a:chOff x="0" y="0"/>
              <a:chExt cx="243840" cy="12438549"/>
            </a:xfrm>
          </p:grpSpPr>
          <p:sp>
            <p:nvSpPr>
              <p:cNvPr id="257"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8"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9"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0"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1"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2"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3"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4"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5"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76" name="Group 62"/>
            <p:cNvGrpSpPr/>
            <p:nvPr/>
          </p:nvGrpSpPr>
          <p:grpSpPr>
            <a:xfrm>
              <a:off x="24727414" y="926930"/>
              <a:ext cx="243841" cy="12435842"/>
              <a:chOff x="0" y="0"/>
              <a:chExt cx="243840" cy="12435840"/>
            </a:xfrm>
          </p:grpSpPr>
          <p:sp>
            <p:nvSpPr>
              <p:cNvPr id="267"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8"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9"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0"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1"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2"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3"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4"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5"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278" name="Body Level One…"/>
          <p:cNvSpPr txBox="1">
            <a:spLocks noGrp="1"/>
          </p:cNvSpPr>
          <p:nvPr>
            <p:ph type="body" sz="quarter" idx="1"/>
          </p:nvPr>
        </p:nvSpPr>
        <p:spPr>
          <a:xfrm>
            <a:off x="-1" y="6853768"/>
            <a:ext cx="6096001" cy="6862233"/>
          </a:xfrm>
          <a:prstGeom prst="rect">
            <a:avLst/>
          </a:prstGeom>
          <a:solidFill>
            <a:srgbClr val="061F80"/>
          </a:solidFill>
        </p:spPr>
        <p:txBody>
          <a:bodyPr lIns="536448" tIns="536448" rIns="536448" bIns="536448"/>
          <a:lstStyle>
            <a:lvl1pPr marL="63500" defTabSz="2438400">
              <a:lnSpc>
                <a:spcPct val="100000"/>
              </a:lnSpc>
              <a:spcBef>
                <a:spcPts val="2900"/>
              </a:spcBef>
              <a:defRPr sz="3600">
                <a:solidFill>
                  <a:srgbClr val="FFFFFF"/>
                </a:solidFill>
                <a:latin typeface="Arial"/>
                <a:ea typeface="Arial"/>
                <a:cs typeface="Arial"/>
                <a:sym typeface="Arial"/>
              </a:defRPr>
            </a:lvl1pPr>
            <a:lvl2pPr marL="507965" indent="-446749" defTabSz="2438400">
              <a:lnSpc>
                <a:spcPct val="100000"/>
              </a:lnSpc>
              <a:spcBef>
                <a:spcPts val="2900"/>
              </a:spcBef>
              <a:buChar char="–"/>
              <a:defRPr sz="3600">
                <a:solidFill>
                  <a:srgbClr val="FFFFFF"/>
                </a:solidFill>
                <a:latin typeface="Arial"/>
                <a:ea typeface="Arial"/>
                <a:cs typeface="Arial"/>
                <a:sym typeface="Arial"/>
              </a:defRPr>
            </a:lvl2pPr>
            <a:lvl3pPr marL="679418" indent="-446749" defTabSz="2438400">
              <a:lnSpc>
                <a:spcPct val="100000"/>
              </a:lnSpc>
              <a:spcBef>
                <a:spcPts val="2900"/>
              </a:spcBef>
              <a:defRPr sz="3600">
                <a:solidFill>
                  <a:srgbClr val="FFFFFF"/>
                </a:solidFill>
                <a:latin typeface="Arial"/>
                <a:ea typeface="Arial"/>
                <a:cs typeface="Arial"/>
                <a:sym typeface="Arial"/>
              </a:defRPr>
            </a:lvl3pPr>
            <a:lvl4pPr marL="965171" indent="-446749" defTabSz="2438400">
              <a:lnSpc>
                <a:spcPct val="100000"/>
              </a:lnSpc>
              <a:spcBef>
                <a:spcPts val="2900"/>
              </a:spcBef>
              <a:buChar char="–"/>
              <a:defRPr sz="3600">
                <a:solidFill>
                  <a:srgbClr val="FFFFFF"/>
                </a:solidFill>
                <a:latin typeface="Arial"/>
                <a:ea typeface="Arial"/>
                <a:cs typeface="Arial"/>
                <a:sym typeface="Arial"/>
              </a:defRPr>
            </a:lvl4pPr>
            <a:lvl5pPr marL="1139798" indent="-446749" defTabSz="2438400">
              <a:lnSpc>
                <a:spcPct val="100000"/>
              </a:lnSpc>
              <a:spcBef>
                <a:spcPts val="2900"/>
              </a:spcBef>
              <a:buChar char="»"/>
              <a:defRPr sz="36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79"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grpSp>
        <p:nvGrpSpPr>
          <p:cNvPr id="320" name="Group"/>
          <p:cNvGrpSpPr/>
          <p:nvPr/>
        </p:nvGrpSpPr>
        <p:grpSpPr>
          <a:xfrm>
            <a:off x="-292614" y="-292947"/>
            <a:ext cx="24971255" cy="14305281"/>
            <a:chOff x="0" y="0"/>
            <a:chExt cx="24971254" cy="14305280"/>
          </a:xfrm>
        </p:grpSpPr>
        <p:sp>
          <p:nvSpPr>
            <p:cNvPr id="280"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1"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2"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3"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4"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5"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6"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7"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8"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9"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0"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1"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2"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3"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4"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5"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6"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7"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8"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9"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0"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1"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2"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3"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4"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5"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6"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7"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8"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9"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0"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1"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2"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3"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4"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5"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6"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7"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8"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9"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sp>
        <p:nvSpPr>
          <p:cNvPr id="321" name="Title text"/>
          <p:cNvSpPr txBox="1">
            <a:spLocks noGrp="1"/>
          </p:cNvSpPr>
          <p:nvPr>
            <p:ph type="body" sz="quarter" idx="21"/>
          </p:nvPr>
        </p:nvSpPr>
        <p:spPr>
          <a:xfrm>
            <a:off x="524459" y="52139"/>
            <a:ext cx="6672073" cy="2247901"/>
          </a:xfrm>
          <a:prstGeom prst="rect">
            <a:avLst/>
          </a:prstGeom>
        </p:spPr>
        <p:txBody>
          <a:bodyPr wrap="none" lIns="50800" tIns="50800" rIns="50800" bIns="50800">
            <a:spAutoFit/>
          </a:bodyPr>
          <a:lstStyle>
            <a:lvl1pPr defTabSz="2438338">
              <a:lnSpc>
                <a:spcPct val="100000"/>
              </a:lnSpc>
              <a:spcBef>
                <a:spcPts val="0"/>
              </a:spcBef>
              <a:defRPr sz="13000">
                <a:solidFill>
                  <a:srgbClr val="FFFFFF"/>
                </a:solidFill>
              </a:defRPr>
            </a:lvl1pPr>
          </a:lstStyle>
          <a:p>
            <a:r>
              <a:t>Title text</a:t>
            </a:r>
          </a:p>
        </p:txBody>
      </p:sp>
      <p:pic>
        <p:nvPicPr>
          <p:cNvPr id="322"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323"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Tree>
    <p:extLst>
      <p:ext uri="{BB962C8B-B14F-4D97-AF65-F5344CB8AC3E}">
        <p14:creationId xmlns:p14="http://schemas.microsoft.com/office/powerpoint/2010/main" val="2117285912"/>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
            <a:ext cx="24384000" cy="13728191"/>
          </a:xfrm>
        </p:spPr>
        <p:txBody>
          <a:bodyPr lIns="91440" tIns="91440" rIns="91440" bIns="91440"/>
          <a:lstStyle/>
          <a:p>
            <a:r>
              <a:rPr lang="en-US"/>
              <a:t>Click icon to add picture</a:t>
            </a:r>
          </a:p>
        </p:txBody>
      </p:sp>
      <p:sp>
        <p:nvSpPr>
          <p:cNvPr id="8" name="Text Placeholder 5"/>
          <p:cNvSpPr>
            <a:spLocks noGrp="1"/>
          </p:cNvSpPr>
          <p:nvPr>
            <p:ph type="body" sz="quarter" idx="13"/>
          </p:nvPr>
        </p:nvSpPr>
        <p:spPr>
          <a:xfrm>
            <a:off x="0" y="6883402"/>
            <a:ext cx="6096000" cy="6832600"/>
          </a:xfrm>
          <a:solidFill>
            <a:schemeClr val="bg1"/>
          </a:solidFill>
        </p:spPr>
        <p:txBody>
          <a:bodyPr lIns="228600" tIns="228600" rIns="228600" bIns="2286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5" y="6858000"/>
            <a:ext cx="6851904" cy="6858001"/>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2664">
                <a:solidFill>
                  <a:schemeClr val="bg1"/>
                </a:solidFill>
              </a:defRPr>
            </a:lvl2pPr>
            <a:lvl3pPr>
              <a:buClr>
                <a:schemeClr val="bg1"/>
              </a:buClr>
              <a:defRPr sz="2664">
                <a:solidFill>
                  <a:schemeClr val="bg1"/>
                </a:solidFill>
              </a:defRPr>
            </a:lvl3pPr>
            <a:lvl4pPr>
              <a:buClr>
                <a:schemeClr val="bg1"/>
              </a:buClr>
              <a:defRPr sz="2664">
                <a:solidFill>
                  <a:schemeClr val="bg1"/>
                </a:solidFill>
              </a:defRPr>
            </a:lvl4pPr>
            <a:lvl5pPr>
              <a:buClr>
                <a:schemeClr val="bg1"/>
              </a:buClr>
              <a:defRPr sz="2664">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408295609"/>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tx">
  <p:cSld name="title, text (two columns, different text sizes)">
    <p:spTree>
      <p:nvGrpSpPr>
        <p:cNvPr id="1" name=""/>
        <p:cNvGrpSpPr/>
        <p:nvPr/>
      </p:nvGrpSpPr>
      <p:grpSpPr>
        <a:xfrm>
          <a:off x="0" y="0"/>
          <a:ext cx="0" cy="0"/>
          <a:chOff x="0" y="0"/>
          <a:chExt cx="0" cy="0"/>
        </a:xfrm>
      </p:grpSpPr>
      <p:grpSp>
        <p:nvGrpSpPr>
          <p:cNvPr id="374" name="Group 1"/>
          <p:cNvGrpSpPr/>
          <p:nvPr/>
        </p:nvGrpSpPr>
        <p:grpSpPr>
          <a:xfrm>
            <a:off x="-292614" y="-292947"/>
            <a:ext cx="24971255" cy="14305281"/>
            <a:chOff x="0" y="0"/>
            <a:chExt cx="24971254" cy="14305280"/>
          </a:xfrm>
        </p:grpSpPr>
        <p:grpSp>
          <p:nvGrpSpPr>
            <p:cNvPr id="341" name="Group 59"/>
            <p:cNvGrpSpPr/>
            <p:nvPr/>
          </p:nvGrpSpPr>
          <p:grpSpPr>
            <a:xfrm>
              <a:off x="903906" y="-1"/>
              <a:ext cx="23164620" cy="243842"/>
              <a:chOff x="0" y="0"/>
              <a:chExt cx="23164618" cy="243840"/>
            </a:xfrm>
          </p:grpSpPr>
          <p:sp>
            <p:nvSpPr>
              <p:cNvPr id="33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53" name="Group 60"/>
            <p:cNvGrpSpPr/>
            <p:nvPr/>
          </p:nvGrpSpPr>
          <p:grpSpPr>
            <a:xfrm>
              <a:off x="903906" y="14061440"/>
              <a:ext cx="23164620" cy="243841"/>
              <a:chOff x="0" y="0"/>
              <a:chExt cx="23164618" cy="243840"/>
            </a:xfrm>
          </p:grpSpPr>
          <p:sp>
            <p:nvSpPr>
              <p:cNvPr id="34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63" name="Group 61"/>
            <p:cNvGrpSpPr/>
            <p:nvPr/>
          </p:nvGrpSpPr>
          <p:grpSpPr>
            <a:xfrm>
              <a:off x="-1" y="926930"/>
              <a:ext cx="243842" cy="12438551"/>
              <a:chOff x="0" y="0"/>
              <a:chExt cx="243840" cy="12438549"/>
            </a:xfrm>
          </p:grpSpPr>
          <p:sp>
            <p:nvSpPr>
              <p:cNvPr id="35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73" name="Group 62"/>
            <p:cNvGrpSpPr/>
            <p:nvPr/>
          </p:nvGrpSpPr>
          <p:grpSpPr>
            <a:xfrm>
              <a:off x="24727414" y="926930"/>
              <a:ext cx="243841" cy="12435842"/>
              <a:chOff x="0" y="0"/>
              <a:chExt cx="243840" cy="12435840"/>
            </a:xfrm>
          </p:grpSpPr>
          <p:sp>
            <p:nvSpPr>
              <p:cNvPr id="36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375" name="Title Text"/>
          <p:cNvSpPr txBox="1">
            <a:spLocks noGrp="1"/>
          </p:cNvSpPr>
          <p:nvPr>
            <p:ph type="title"/>
          </p:nvPr>
        </p:nvSpPr>
        <p:spPr>
          <a:xfrm>
            <a:off x="649731" y="372533"/>
            <a:ext cx="11045953" cy="2145793"/>
          </a:xfrm>
          <a:prstGeom prst="rect">
            <a:avLst/>
          </a:prstGeom>
        </p:spPr>
        <p:txBody>
          <a:bodyPr>
            <a:normAutofit/>
          </a:bodyPr>
          <a:lstStyle>
            <a:lvl1pPr defTabSz="2438400">
              <a:defRPr b="0">
                <a:solidFill>
                  <a:srgbClr val="FFFFFF"/>
                </a:solidFill>
              </a:defRPr>
            </a:lvl1pPr>
          </a:lstStyle>
          <a:p>
            <a:r>
              <a:t>Title Text</a:t>
            </a:r>
          </a:p>
        </p:txBody>
      </p:sp>
      <p:sp>
        <p:nvSpPr>
          <p:cNvPr id="376" name="Body Level One…"/>
          <p:cNvSpPr txBox="1">
            <a:spLocks noGrp="1"/>
          </p:cNvSpPr>
          <p:nvPr>
            <p:ph type="body" sz="half" idx="1"/>
          </p:nvPr>
        </p:nvSpPr>
        <p:spPr>
          <a:xfrm>
            <a:off x="649731" y="3281171"/>
            <a:ext cx="11045953" cy="8745729"/>
          </a:xfrm>
          <a:prstGeom prst="rect">
            <a:avLst/>
          </a:prstGeom>
        </p:spPr>
        <p:txBody>
          <a:bodyPr/>
          <a:lstStyle>
            <a:lvl1pPr defTabSz="2438400">
              <a:lnSpc>
                <a:spcPct val="100000"/>
              </a:lnSpc>
              <a:spcBef>
                <a:spcPts val="2900"/>
              </a:spcBef>
              <a:defRPr sz="6400">
                <a:solidFill>
                  <a:srgbClr val="FFFFFF"/>
                </a:solidFill>
              </a:defRPr>
            </a:lvl1pPr>
            <a:lvl2pPr marL="791937" indent="-794221" defTabSz="2438400">
              <a:lnSpc>
                <a:spcPct val="100000"/>
              </a:lnSpc>
              <a:spcBef>
                <a:spcPts val="2900"/>
              </a:spcBef>
              <a:buChar char="–"/>
              <a:defRPr sz="6400">
                <a:solidFill>
                  <a:srgbClr val="FFFFFF"/>
                </a:solidFill>
              </a:defRPr>
            </a:lvl2pPr>
            <a:lvl3pPr marL="963390" indent="-794221" defTabSz="2438400">
              <a:lnSpc>
                <a:spcPct val="100000"/>
              </a:lnSpc>
              <a:spcBef>
                <a:spcPts val="2900"/>
              </a:spcBef>
              <a:defRPr sz="6400">
                <a:solidFill>
                  <a:srgbClr val="FFFFFF"/>
                </a:solidFill>
              </a:defRPr>
            </a:lvl3pPr>
            <a:lvl4pPr marL="1249143" indent="-794221" defTabSz="2438400">
              <a:lnSpc>
                <a:spcPct val="100000"/>
              </a:lnSpc>
              <a:spcBef>
                <a:spcPts val="2900"/>
              </a:spcBef>
              <a:buChar char="–"/>
              <a:defRPr sz="6400">
                <a:solidFill>
                  <a:srgbClr val="FFFFFF"/>
                </a:solidFill>
              </a:defRPr>
            </a:lvl4pPr>
            <a:lvl5pPr marL="1423770" indent="-794221" defTabSz="2438400">
              <a:lnSpc>
                <a:spcPct val="100000"/>
              </a:lnSpc>
              <a:spcBef>
                <a:spcPts val="2900"/>
              </a:spcBef>
              <a:buChar char="»"/>
              <a:defRPr sz="64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377" name="Text Placeholder"/>
          <p:cNvSpPr>
            <a:spLocks noGrp="1"/>
          </p:cNvSpPr>
          <p:nvPr>
            <p:ph type="body" sz="half" idx="21"/>
          </p:nvPr>
        </p:nvSpPr>
        <p:spPr>
          <a:xfrm>
            <a:off x="12777216" y="3316223"/>
            <a:ext cx="10997185" cy="8672575"/>
          </a:xfrm>
          <a:prstGeom prst="rect">
            <a:avLst/>
          </a:prstGeom>
        </p:spPr>
        <p:txBody>
          <a:bodyPr/>
          <a:lstStyle/>
          <a:p>
            <a:pPr defTabSz="2438400">
              <a:lnSpc>
                <a:spcPct val="100000"/>
              </a:lnSpc>
              <a:spcBef>
                <a:spcPts val="2900"/>
              </a:spcBef>
              <a:defRPr sz="3600" b="1">
                <a:solidFill>
                  <a:srgbClr val="FFFFFF"/>
                </a:solidFill>
                <a:latin typeface="Arial"/>
                <a:ea typeface="Arial"/>
                <a:cs typeface="Arial"/>
                <a:sym typeface="Arial"/>
              </a:defRPr>
            </a:pPr>
            <a:endParaRPr/>
          </a:p>
        </p:txBody>
      </p:sp>
      <p:pic>
        <p:nvPicPr>
          <p:cNvPr id="378"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379"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380"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5374557"/>
      </p:ext>
    </p:extLst>
  </p:cSld>
  <p:clrMapOvr>
    <a:masterClrMapping/>
  </p:clrMapOvr>
  <p:transition spd="med"/>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type="tx">
  <p:cSld name="cover">
    <p:spTree>
      <p:nvGrpSpPr>
        <p:cNvPr id="1" name=""/>
        <p:cNvGrpSpPr/>
        <p:nvPr/>
      </p:nvGrpSpPr>
      <p:grpSpPr>
        <a:xfrm>
          <a:off x="0" y="0"/>
          <a:ext cx="0" cy="0"/>
          <a:chOff x="0" y="0"/>
          <a:chExt cx="0" cy="0"/>
        </a:xfrm>
      </p:grpSpPr>
      <p:grpSp>
        <p:nvGrpSpPr>
          <p:cNvPr id="431" name="Group 1"/>
          <p:cNvGrpSpPr/>
          <p:nvPr/>
        </p:nvGrpSpPr>
        <p:grpSpPr>
          <a:xfrm>
            <a:off x="-292614" y="-292947"/>
            <a:ext cx="24971255" cy="14305281"/>
            <a:chOff x="0" y="0"/>
            <a:chExt cx="24971254" cy="14305280"/>
          </a:xfrm>
        </p:grpSpPr>
        <p:grpSp>
          <p:nvGrpSpPr>
            <p:cNvPr id="398" name="Group 59"/>
            <p:cNvGrpSpPr/>
            <p:nvPr/>
          </p:nvGrpSpPr>
          <p:grpSpPr>
            <a:xfrm>
              <a:off x="903906" y="-1"/>
              <a:ext cx="23164620" cy="243842"/>
              <a:chOff x="0" y="0"/>
              <a:chExt cx="23164618" cy="243840"/>
            </a:xfrm>
          </p:grpSpPr>
          <p:sp>
            <p:nvSpPr>
              <p:cNvPr id="387"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8"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9"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0"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1"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2"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3"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4"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5"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6"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7"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10" name="Group 60"/>
            <p:cNvGrpSpPr/>
            <p:nvPr/>
          </p:nvGrpSpPr>
          <p:grpSpPr>
            <a:xfrm>
              <a:off x="903906" y="14061440"/>
              <a:ext cx="23164620" cy="243841"/>
              <a:chOff x="0" y="0"/>
              <a:chExt cx="23164618" cy="243840"/>
            </a:xfrm>
          </p:grpSpPr>
          <p:sp>
            <p:nvSpPr>
              <p:cNvPr id="399"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0"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1"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2"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3"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4"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5"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6"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7"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8"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9"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20" name="Group 61"/>
            <p:cNvGrpSpPr/>
            <p:nvPr/>
          </p:nvGrpSpPr>
          <p:grpSpPr>
            <a:xfrm>
              <a:off x="-1" y="926930"/>
              <a:ext cx="243842" cy="12438551"/>
              <a:chOff x="0" y="0"/>
              <a:chExt cx="243840" cy="12438549"/>
            </a:xfrm>
          </p:grpSpPr>
          <p:sp>
            <p:nvSpPr>
              <p:cNvPr id="411"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2"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3"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4"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5"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6"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7"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8"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9"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30" name="Group 62"/>
            <p:cNvGrpSpPr/>
            <p:nvPr/>
          </p:nvGrpSpPr>
          <p:grpSpPr>
            <a:xfrm>
              <a:off x="24727414" y="926930"/>
              <a:ext cx="243841" cy="12435842"/>
              <a:chOff x="0" y="0"/>
              <a:chExt cx="243840" cy="12435840"/>
            </a:xfrm>
          </p:grpSpPr>
          <p:sp>
            <p:nvSpPr>
              <p:cNvPr id="421"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2"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3"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4"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5"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6"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7"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8"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9"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432" name="Title Text"/>
          <p:cNvSpPr txBox="1"/>
          <p:nvPr/>
        </p:nvSpPr>
        <p:spPr>
          <a:xfrm>
            <a:off x="649731" y="372533"/>
            <a:ext cx="11045953" cy="21457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FFFFFF"/>
                </a:solidFill>
                <a:latin typeface="IBM Plex Sans"/>
                <a:ea typeface="IBM Plex Sans"/>
                <a:cs typeface="IBM Plex Sans"/>
                <a:sym typeface="IBM Plex Sans"/>
              </a:defRPr>
            </a:lvl1pPr>
          </a:lstStyle>
          <a:p>
            <a:r>
              <a:t>Title Text</a:t>
            </a:r>
          </a:p>
        </p:txBody>
      </p:sp>
      <p:pic>
        <p:nvPicPr>
          <p:cNvPr id="433"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43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435" name="Slide Number"/>
          <p:cNvSpPr txBox="1">
            <a:spLocks noGrp="1"/>
          </p:cNvSpPr>
          <p:nvPr>
            <p:ph type="sldNum" sz="quarter" idx="2"/>
          </p:nvPr>
        </p:nvSpPr>
        <p:spPr>
          <a:xfrm>
            <a:off x="11785599" y="12344399"/>
            <a:ext cx="5689601" cy="736601"/>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4161107556"/>
      </p:ext>
    </p:extLst>
  </p:cSld>
  <p:clrMapOvr>
    <a:masterClrMapping/>
  </p:clrMapOvr>
  <p:transition spd="med"/>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tx">
  <p:cSld name="Divider">
    <p:spTree>
      <p:nvGrpSpPr>
        <p:cNvPr id="1" name=""/>
        <p:cNvGrpSpPr/>
        <p:nvPr/>
      </p:nvGrpSpPr>
      <p:grpSpPr>
        <a:xfrm>
          <a:off x="0" y="0"/>
          <a:ext cx="0" cy="0"/>
          <a:chOff x="0" y="0"/>
          <a:chExt cx="0" cy="0"/>
        </a:xfrm>
      </p:grpSpPr>
      <p:grpSp>
        <p:nvGrpSpPr>
          <p:cNvPr id="486" name="Group 1"/>
          <p:cNvGrpSpPr/>
          <p:nvPr/>
        </p:nvGrpSpPr>
        <p:grpSpPr>
          <a:xfrm>
            <a:off x="-292614" y="-292947"/>
            <a:ext cx="24971255" cy="14305281"/>
            <a:chOff x="0" y="0"/>
            <a:chExt cx="24971254" cy="14305280"/>
          </a:xfrm>
        </p:grpSpPr>
        <p:grpSp>
          <p:nvGrpSpPr>
            <p:cNvPr id="453" name="Group 59"/>
            <p:cNvGrpSpPr/>
            <p:nvPr/>
          </p:nvGrpSpPr>
          <p:grpSpPr>
            <a:xfrm>
              <a:off x="903906" y="-1"/>
              <a:ext cx="23164620" cy="243842"/>
              <a:chOff x="0" y="0"/>
              <a:chExt cx="23164618" cy="243840"/>
            </a:xfrm>
          </p:grpSpPr>
          <p:sp>
            <p:nvSpPr>
              <p:cNvPr id="442"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3"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4"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5"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6"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7"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8"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9"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0"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1"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2"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65" name="Group 60"/>
            <p:cNvGrpSpPr/>
            <p:nvPr/>
          </p:nvGrpSpPr>
          <p:grpSpPr>
            <a:xfrm>
              <a:off x="903906" y="14061440"/>
              <a:ext cx="23164620" cy="243841"/>
              <a:chOff x="0" y="0"/>
              <a:chExt cx="23164618" cy="243840"/>
            </a:xfrm>
          </p:grpSpPr>
          <p:sp>
            <p:nvSpPr>
              <p:cNvPr id="454"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5"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6"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7"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8"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9"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0"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1"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2"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3"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4"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75" name="Group 61"/>
            <p:cNvGrpSpPr/>
            <p:nvPr/>
          </p:nvGrpSpPr>
          <p:grpSpPr>
            <a:xfrm>
              <a:off x="-1" y="926930"/>
              <a:ext cx="243842" cy="12438551"/>
              <a:chOff x="0" y="0"/>
              <a:chExt cx="243840" cy="12438549"/>
            </a:xfrm>
          </p:grpSpPr>
          <p:sp>
            <p:nvSpPr>
              <p:cNvPr id="466"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7"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8"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9"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0"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1"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2"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3"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4"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85" name="Group 62"/>
            <p:cNvGrpSpPr/>
            <p:nvPr/>
          </p:nvGrpSpPr>
          <p:grpSpPr>
            <a:xfrm>
              <a:off x="24727414" y="926930"/>
              <a:ext cx="243841" cy="12435842"/>
              <a:chOff x="0" y="0"/>
              <a:chExt cx="243840" cy="12435840"/>
            </a:xfrm>
          </p:grpSpPr>
          <p:sp>
            <p:nvSpPr>
              <p:cNvPr id="476"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7"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8"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9"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0"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1"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2"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3"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4"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pic>
        <p:nvPicPr>
          <p:cNvPr id="487"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488"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489" name="Slide Number"/>
          <p:cNvSpPr txBox="1">
            <a:spLocks noGrp="1"/>
          </p:cNvSpPr>
          <p:nvPr>
            <p:ph type="sldNum" sz="quarter" idx="2"/>
          </p:nvPr>
        </p:nvSpPr>
        <p:spPr>
          <a:xfrm>
            <a:off x="11785599" y="12344399"/>
            <a:ext cx="5689601" cy="736601"/>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4211871306"/>
      </p:ext>
    </p:extLst>
  </p:cSld>
  <p:clrMapOvr>
    <a:masterClrMapping/>
  </p:clrMapOvr>
  <p:transition spd="med"/>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957892" y="12598399"/>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1" y="372533"/>
            <a:ext cx="11045953" cy="2145793"/>
          </a:xfrm>
          <a:prstGeom prst="rect">
            <a:avLst/>
          </a:prstGeom>
        </p:spPr>
        <p:txBody>
          <a:bodyPr/>
          <a:lstStyle>
            <a:lvl1pPr defTabSz="2438400">
              <a:lnSpc>
                <a:spcPct val="90000"/>
              </a:lnSpc>
              <a:spcBef>
                <a:spcPts val="0"/>
              </a:spcBef>
              <a:defRPr sz="6400"/>
            </a:lvl1pPr>
          </a:lstStyle>
          <a:p>
            <a:r>
              <a:t>Title Text</a:t>
            </a:r>
          </a:p>
        </p:txBody>
      </p:sp>
      <p:grpSp>
        <p:nvGrpSpPr>
          <p:cNvPr id="509" name="Group 59"/>
          <p:cNvGrpSpPr/>
          <p:nvPr/>
        </p:nvGrpSpPr>
        <p:grpSpPr>
          <a:xfrm>
            <a:off x="623992" y="-318348"/>
            <a:ext cx="23164620" cy="243841"/>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21" name="Group 60"/>
          <p:cNvGrpSpPr/>
          <p:nvPr/>
        </p:nvGrpSpPr>
        <p:grpSpPr>
          <a:xfrm>
            <a:off x="611292" y="13768494"/>
            <a:ext cx="23164620" cy="243841"/>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31" name="Group 61"/>
          <p:cNvGrpSpPr/>
          <p:nvPr/>
        </p:nvGrpSpPr>
        <p:grpSpPr>
          <a:xfrm>
            <a:off x="-419615" y="633983"/>
            <a:ext cx="243841" cy="12438551"/>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41" name="Group 62"/>
          <p:cNvGrpSpPr/>
          <p:nvPr/>
        </p:nvGrpSpPr>
        <p:grpSpPr>
          <a:xfrm>
            <a:off x="24434800" y="633983"/>
            <a:ext cx="243841" cy="12435842"/>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542" name="Straight Connector 92"/>
          <p:cNvSpPr/>
          <p:nvPr/>
        </p:nvSpPr>
        <p:spPr>
          <a:xfrm flipV="1">
            <a:off x="611292"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3" name="Straight Connector 93"/>
          <p:cNvSpPr/>
          <p:nvPr/>
        </p:nvSpPr>
        <p:spPr>
          <a:xfrm flipV="1">
            <a:off x="54880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4" name="Straight Connector 94"/>
          <p:cNvSpPr/>
          <p:nvPr/>
        </p:nvSpPr>
        <p:spPr>
          <a:xfrm flipV="1">
            <a:off x="61103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5" name="Straight Connector 95"/>
          <p:cNvSpPr/>
          <p:nvPr/>
        </p:nvSpPr>
        <p:spPr>
          <a:xfrm flipV="1">
            <a:off x="6707293"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6" name="Straight Connector 96"/>
          <p:cNvSpPr/>
          <p:nvPr/>
        </p:nvSpPr>
        <p:spPr>
          <a:xfrm flipV="1">
            <a:off x="11584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7" name="Straight Connector 97"/>
          <p:cNvSpPr/>
          <p:nvPr/>
        </p:nvSpPr>
        <p:spPr>
          <a:xfrm flipV="1">
            <a:off x="121936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8" name="Straight Connector 98"/>
          <p:cNvSpPr/>
          <p:nvPr/>
        </p:nvSpPr>
        <p:spPr>
          <a:xfrm flipV="1">
            <a:off x="128032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9" name="Straight Connector 99"/>
          <p:cNvSpPr/>
          <p:nvPr/>
        </p:nvSpPr>
        <p:spPr>
          <a:xfrm flipV="1">
            <a:off x="17680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0" name="Straight Connector 100"/>
          <p:cNvSpPr/>
          <p:nvPr/>
        </p:nvSpPr>
        <p:spPr>
          <a:xfrm flipV="1">
            <a:off x="182896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1" name="Straight Connector 101"/>
          <p:cNvSpPr/>
          <p:nvPr/>
        </p:nvSpPr>
        <p:spPr>
          <a:xfrm flipV="1">
            <a:off x="188992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2" name="Straight Connector 102"/>
          <p:cNvSpPr/>
          <p:nvPr/>
        </p:nvSpPr>
        <p:spPr>
          <a:xfrm flipV="1">
            <a:off x="23775911"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3"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4"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5"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6"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7"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8"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9"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0"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1"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2"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3"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4" name="Straight Connector 72"/>
          <p:cNvSpPr/>
          <p:nvPr/>
        </p:nvSpPr>
        <p:spPr>
          <a:xfrm flipH="1">
            <a:off x="-419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5" name="Straight Connector 73"/>
          <p:cNvSpPr/>
          <p:nvPr/>
        </p:nvSpPr>
        <p:spPr>
          <a:xfrm flipH="1">
            <a:off x="-419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6" name="Straight Connector 74"/>
          <p:cNvSpPr/>
          <p:nvPr/>
        </p:nvSpPr>
        <p:spPr>
          <a:xfrm flipH="1">
            <a:off x="-419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7" name="Straight Connector 75"/>
          <p:cNvSpPr/>
          <p:nvPr/>
        </p:nvSpPr>
        <p:spPr>
          <a:xfrm flipH="1">
            <a:off x="-419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8" name="Straight Connector 76"/>
          <p:cNvSpPr/>
          <p:nvPr/>
        </p:nvSpPr>
        <p:spPr>
          <a:xfrm flipH="1">
            <a:off x="-419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9" name="Straight Connector 77"/>
          <p:cNvSpPr/>
          <p:nvPr/>
        </p:nvSpPr>
        <p:spPr>
          <a:xfrm flipH="1">
            <a:off x="-419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0" name="Straight Connector 78"/>
          <p:cNvSpPr/>
          <p:nvPr/>
        </p:nvSpPr>
        <p:spPr>
          <a:xfrm flipH="1">
            <a:off x="-419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1" name="Straight Connector 79"/>
          <p:cNvSpPr/>
          <p:nvPr/>
        </p:nvSpPr>
        <p:spPr>
          <a:xfrm flipH="1">
            <a:off x="-419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2" name="Straight Connector 80"/>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3"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4"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5"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6"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7"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8"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9"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0"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1"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582"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583"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Tree>
    <p:extLst>
      <p:ext uri="{BB962C8B-B14F-4D97-AF65-F5344CB8AC3E}">
        <p14:creationId xmlns:p14="http://schemas.microsoft.com/office/powerpoint/2010/main" val="3602985638"/>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x">
  <p:cSld name="case study 1: title, text (two columns), half-image">
    <p:bg>
      <p:bgPr>
        <a:solidFill>
          <a:srgbClr val="F4F4F4"/>
        </a:solidFill>
        <a:effectLst/>
      </p:bgPr>
    </p:bg>
    <p:spTree>
      <p:nvGrpSpPr>
        <p:cNvPr id="1" name=""/>
        <p:cNvGrpSpPr/>
        <p:nvPr/>
      </p:nvGrpSpPr>
      <p:grpSpPr>
        <a:xfrm>
          <a:off x="0" y="0"/>
          <a:ext cx="0" cy="0"/>
          <a:chOff x="0" y="0"/>
          <a:chExt cx="0" cy="0"/>
        </a:xfrm>
      </p:grpSpPr>
      <p:grpSp>
        <p:nvGrpSpPr>
          <p:cNvPr id="634" name="Group 58"/>
          <p:cNvGrpSpPr/>
          <p:nvPr/>
        </p:nvGrpSpPr>
        <p:grpSpPr>
          <a:xfrm>
            <a:off x="-292614" y="-292947"/>
            <a:ext cx="24971255" cy="14305281"/>
            <a:chOff x="0" y="0"/>
            <a:chExt cx="24971254" cy="14305280"/>
          </a:xfrm>
        </p:grpSpPr>
        <p:grpSp>
          <p:nvGrpSpPr>
            <p:cNvPr id="601" name="Group 59"/>
            <p:cNvGrpSpPr/>
            <p:nvPr/>
          </p:nvGrpSpPr>
          <p:grpSpPr>
            <a:xfrm>
              <a:off x="903906" y="-1"/>
              <a:ext cx="23164620" cy="243842"/>
              <a:chOff x="0" y="0"/>
              <a:chExt cx="23164618" cy="243840"/>
            </a:xfrm>
          </p:grpSpPr>
          <p:sp>
            <p:nvSpPr>
              <p:cNvPr id="59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613" name="Group 60"/>
            <p:cNvGrpSpPr/>
            <p:nvPr/>
          </p:nvGrpSpPr>
          <p:grpSpPr>
            <a:xfrm>
              <a:off x="903906" y="14061440"/>
              <a:ext cx="23164620" cy="243841"/>
              <a:chOff x="0" y="0"/>
              <a:chExt cx="23164618" cy="243840"/>
            </a:xfrm>
          </p:grpSpPr>
          <p:sp>
            <p:nvSpPr>
              <p:cNvPr id="60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623" name="Group 61"/>
            <p:cNvGrpSpPr/>
            <p:nvPr/>
          </p:nvGrpSpPr>
          <p:grpSpPr>
            <a:xfrm>
              <a:off x="-1" y="926930"/>
              <a:ext cx="243842" cy="12438551"/>
              <a:chOff x="0" y="0"/>
              <a:chExt cx="243840" cy="12438549"/>
            </a:xfrm>
          </p:grpSpPr>
          <p:sp>
            <p:nvSpPr>
              <p:cNvPr id="61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633" name="Group 62"/>
            <p:cNvGrpSpPr/>
            <p:nvPr/>
          </p:nvGrpSpPr>
          <p:grpSpPr>
            <a:xfrm>
              <a:off x="24727414" y="926930"/>
              <a:ext cx="243841" cy="12435842"/>
              <a:chOff x="0" y="0"/>
              <a:chExt cx="243840" cy="12435840"/>
            </a:xfrm>
          </p:grpSpPr>
          <p:sp>
            <p:nvSpPr>
              <p:cNvPr id="62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3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3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3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635"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636" name="Body Level One…"/>
          <p:cNvSpPr txBox="1">
            <a:spLocks noGrp="1"/>
          </p:cNvSpPr>
          <p:nvPr>
            <p:ph type="body" sz="quarter" idx="1"/>
          </p:nvPr>
        </p:nvSpPr>
        <p:spPr>
          <a:xfrm>
            <a:off x="585215" y="3341623"/>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37" name="Text Placeholder 2"/>
          <p:cNvSpPr>
            <a:spLocks noGrp="1"/>
          </p:cNvSpPr>
          <p:nvPr>
            <p:ph type="body" sz="quarter" idx="21"/>
          </p:nvPr>
        </p:nvSpPr>
        <p:spPr>
          <a:xfrm>
            <a:off x="6681215" y="3384402"/>
            <a:ext cx="4901185" cy="8672575"/>
          </a:xfrm>
          <a:prstGeom prst="rect">
            <a:avLst/>
          </a:prstGeom>
        </p:spPr>
        <p:txBody>
          <a:bodyPr/>
          <a:lstStyle/>
          <a:p>
            <a:pPr defTabSz="2438400">
              <a:lnSpc>
                <a:spcPct val="100000"/>
              </a:lnSpc>
              <a:spcBef>
                <a:spcPts val="800"/>
              </a:spcBef>
              <a:defRPr sz="3600" b="1">
                <a:latin typeface="Arial"/>
                <a:ea typeface="Arial"/>
                <a:cs typeface="Arial"/>
                <a:sym typeface="Arial"/>
              </a:defRPr>
            </a:pPr>
            <a:endParaRPr/>
          </a:p>
        </p:txBody>
      </p:sp>
      <p:sp>
        <p:nvSpPr>
          <p:cNvPr id="638" name="Picture Placeholder"/>
          <p:cNvSpPr>
            <a:spLocks noGrp="1"/>
          </p:cNvSpPr>
          <p:nvPr>
            <p:ph type="pic" idx="22"/>
          </p:nvPr>
        </p:nvSpPr>
        <p:spPr>
          <a:xfrm>
            <a:off x="12192000" y="-1"/>
            <a:ext cx="12192000" cy="13716001"/>
          </a:xfrm>
          <a:prstGeom prst="rect">
            <a:avLst/>
          </a:prstGeom>
        </p:spPr>
        <p:txBody>
          <a:bodyPr lIns="91439" tIns="45719" rIns="91439" bIns="45719">
            <a:noAutofit/>
          </a:bodyPr>
          <a:lstStyle/>
          <a:p>
            <a:endParaRPr/>
          </a:p>
        </p:txBody>
      </p:sp>
      <p:sp>
        <p:nvSpPr>
          <p:cNvPr id="639"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grpSp>
        <p:nvGrpSpPr>
          <p:cNvPr id="680" name="Group"/>
          <p:cNvGrpSpPr/>
          <p:nvPr/>
        </p:nvGrpSpPr>
        <p:grpSpPr>
          <a:xfrm>
            <a:off x="-292614" y="-292947"/>
            <a:ext cx="24971255" cy="14305281"/>
            <a:chOff x="0" y="0"/>
            <a:chExt cx="24971254" cy="14305280"/>
          </a:xfrm>
        </p:grpSpPr>
        <p:sp>
          <p:nvSpPr>
            <p:cNvPr id="640"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1"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2"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3"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4"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5"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6"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7"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8"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9"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0"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1"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2"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3"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4"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5"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6"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7"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8"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9"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0"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1"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2"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3"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4"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5"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6"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7"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8"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9"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0"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1"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2"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3"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4"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5"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6"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7"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8"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9"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681"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682"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Tree>
    <p:extLst>
      <p:ext uri="{BB962C8B-B14F-4D97-AF65-F5344CB8AC3E}">
        <p14:creationId xmlns:p14="http://schemas.microsoft.com/office/powerpoint/2010/main" val="3208489050"/>
      </p:ext>
    </p:extLst>
  </p:cSld>
  <p:clrMapOvr>
    <a:masterClrMapping/>
  </p:clrMapOvr>
  <p:transition spd="med"/>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x">
  <p:cSld name="case study 2: title, text (2/4), quote (2/4)">
    <p:bg>
      <p:bgPr>
        <a:solidFill>
          <a:srgbClr val="F4F4F4"/>
        </a:solidFill>
        <a:effectLst/>
      </p:bgPr>
    </p:bg>
    <p:spTree>
      <p:nvGrpSpPr>
        <p:cNvPr id="1" name=""/>
        <p:cNvGrpSpPr/>
        <p:nvPr/>
      </p:nvGrpSpPr>
      <p:grpSpPr>
        <a:xfrm>
          <a:off x="0" y="0"/>
          <a:ext cx="0" cy="0"/>
          <a:chOff x="0" y="0"/>
          <a:chExt cx="0" cy="0"/>
        </a:xfrm>
      </p:grpSpPr>
      <p:grpSp>
        <p:nvGrpSpPr>
          <p:cNvPr id="733" name="Group 58"/>
          <p:cNvGrpSpPr/>
          <p:nvPr/>
        </p:nvGrpSpPr>
        <p:grpSpPr>
          <a:xfrm>
            <a:off x="-292614" y="-292947"/>
            <a:ext cx="24971255" cy="14305281"/>
            <a:chOff x="0" y="0"/>
            <a:chExt cx="24971254" cy="14305280"/>
          </a:xfrm>
        </p:grpSpPr>
        <p:grpSp>
          <p:nvGrpSpPr>
            <p:cNvPr id="700" name="Group 59"/>
            <p:cNvGrpSpPr/>
            <p:nvPr/>
          </p:nvGrpSpPr>
          <p:grpSpPr>
            <a:xfrm>
              <a:off x="903906" y="-1"/>
              <a:ext cx="23164620" cy="243842"/>
              <a:chOff x="0" y="0"/>
              <a:chExt cx="23164618" cy="243840"/>
            </a:xfrm>
          </p:grpSpPr>
          <p:sp>
            <p:nvSpPr>
              <p:cNvPr id="689"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0"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1"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2"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3"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4"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5"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6"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7"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8"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9"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712" name="Group 60"/>
            <p:cNvGrpSpPr/>
            <p:nvPr/>
          </p:nvGrpSpPr>
          <p:grpSpPr>
            <a:xfrm>
              <a:off x="903906" y="14061440"/>
              <a:ext cx="23164620" cy="243841"/>
              <a:chOff x="0" y="0"/>
              <a:chExt cx="23164618" cy="243840"/>
            </a:xfrm>
          </p:grpSpPr>
          <p:sp>
            <p:nvSpPr>
              <p:cNvPr id="701"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2"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3"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4"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5"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6"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7"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8"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9"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0"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1"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722" name="Group 61"/>
            <p:cNvGrpSpPr/>
            <p:nvPr/>
          </p:nvGrpSpPr>
          <p:grpSpPr>
            <a:xfrm>
              <a:off x="-1" y="926930"/>
              <a:ext cx="243842" cy="12438551"/>
              <a:chOff x="0" y="0"/>
              <a:chExt cx="243840" cy="12438549"/>
            </a:xfrm>
          </p:grpSpPr>
          <p:sp>
            <p:nvSpPr>
              <p:cNvPr id="713"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4"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5"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6"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7"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8"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9"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0"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1"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732" name="Group 62"/>
            <p:cNvGrpSpPr/>
            <p:nvPr/>
          </p:nvGrpSpPr>
          <p:grpSpPr>
            <a:xfrm>
              <a:off x="24727414" y="926930"/>
              <a:ext cx="243841" cy="12435842"/>
              <a:chOff x="0" y="0"/>
              <a:chExt cx="243840" cy="12435840"/>
            </a:xfrm>
          </p:grpSpPr>
          <p:sp>
            <p:nvSpPr>
              <p:cNvPr id="723"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4"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5"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6"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7"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8"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9"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30"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31"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734"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735" name="Body Level One…"/>
          <p:cNvSpPr txBox="1">
            <a:spLocks noGrp="1"/>
          </p:cNvSpPr>
          <p:nvPr>
            <p:ph type="body" sz="quarter" idx="1"/>
          </p:nvPr>
        </p:nvSpPr>
        <p:spPr>
          <a:xfrm>
            <a:off x="585215" y="3340100"/>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36" name="Text Placeholder 2"/>
          <p:cNvSpPr>
            <a:spLocks noGrp="1"/>
          </p:cNvSpPr>
          <p:nvPr>
            <p:ph type="body" sz="quarter" idx="21"/>
          </p:nvPr>
        </p:nvSpPr>
        <p:spPr>
          <a:xfrm>
            <a:off x="6681215" y="3340100"/>
            <a:ext cx="4901185" cy="8672574"/>
          </a:xfrm>
          <a:prstGeom prst="rect">
            <a:avLst/>
          </a:prstGeom>
        </p:spPr>
        <p:txBody>
          <a:bodyPr/>
          <a:lstStyle/>
          <a:p>
            <a:pPr defTabSz="2438400">
              <a:lnSpc>
                <a:spcPct val="100000"/>
              </a:lnSpc>
              <a:spcBef>
                <a:spcPts val="800"/>
              </a:spcBef>
              <a:defRPr sz="2600" b="1">
                <a:latin typeface="Arial"/>
                <a:ea typeface="Arial"/>
                <a:cs typeface="Arial"/>
                <a:sym typeface="Arial"/>
              </a:defRPr>
            </a:pPr>
            <a:endParaRPr/>
          </a:p>
        </p:txBody>
      </p:sp>
      <p:sp>
        <p:nvSpPr>
          <p:cNvPr id="737" name="Text Placeholder 3"/>
          <p:cNvSpPr>
            <a:spLocks noGrp="1"/>
          </p:cNvSpPr>
          <p:nvPr>
            <p:ph type="body" sz="half" idx="22"/>
          </p:nvPr>
        </p:nvSpPr>
        <p:spPr>
          <a:xfrm>
            <a:off x="12728447" y="3340100"/>
            <a:ext cx="11045953" cy="8745729"/>
          </a:xfrm>
          <a:prstGeom prst="rect">
            <a:avLst/>
          </a:prstGeom>
        </p:spPr>
        <p:txBody>
          <a:bodyPr/>
          <a:lstStyle/>
          <a:p>
            <a:pPr defTabSz="2438400">
              <a:lnSpc>
                <a:spcPct val="100000"/>
              </a:lnSpc>
              <a:spcBef>
                <a:spcPts val="2900"/>
              </a:spcBef>
              <a:defRPr sz="6400" b="1">
                <a:latin typeface="Arial"/>
                <a:ea typeface="Arial"/>
                <a:cs typeface="Arial"/>
                <a:sym typeface="Arial"/>
              </a:defRPr>
            </a:pPr>
            <a:endParaRPr/>
          </a:p>
        </p:txBody>
      </p:sp>
      <p:grpSp>
        <p:nvGrpSpPr>
          <p:cNvPr id="778" name="Group"/>
          <p:cNvGrpSpPr/>
          <p:nvPr/>
        </p:nvGrpSpPr>
        <p:grpSpPr>
          <a:xfrm>
            <a:off x="-292614" y="-292947"/>
            <a:ext cx="24971255" cy="14305281"/>
            <a:chOff x="0" y="0"/>
            <a:chExt cx="24971254" cy="14305280"/>
          </a:xfrm>
        </p:grpSpPr>
        <p:sp>
          <p:nvSpPr>
            <p:cNvPr id="738"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39"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0"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1"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2"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3"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4"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5"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6"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7"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8"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9"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0"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1"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2"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3"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4"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5"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6"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7"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8"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9"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0"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1"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2"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3"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4"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5"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6"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7"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8"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9"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0"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1"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2"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3"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4"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5"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6"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7"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779"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780"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781"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511241523"/>
      </p:ext>
    </p:extLst>
  </p:cSld>
  <p:clrMapOvr>
    <a:masterClrMapping/>
  </p:clrMapOvr>
  <p:transition spd="med"/>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tx">
  <p:cSld name="title, text (1/4), blank (3/4)">
    <p:bg>
      <p:bgPr>
        <a:solidFill>
          <a:srgbClr val="F4F4F4"/>
        </a:solidFill>
        <a:effectLst/>
      </p:bgPr>
    </p:bg>
    <p:spTree>
      <p:nvGrpSpPr>
        <p:cNvPr id="1" name=""/>
        <p:cNvGrpSpPr/>
        <p:nvPr/>
      </p:nvGrpSpPr>
      <p:grpSpPr>
        <a:xfrm>
          <a:off x="0" y="0"/>
          <a:ext cx="0" cy="0"/>
          <a:chOff x="0" y="0"/>
          <a:chExt cx="0" cy="0"/>
        </a:xfrm>
      </p:grpSpPr>
      <p:grpSp>
        <p:nvGrpSpPr>
          <p:cNvPr id="832" name="Group 58"/>
          <p:cNvGrpSpPr/>
          <p:nvPr/>
        </p:nvGrpSpPr>
        <p:grpSpPr>
          <a:xfrm>
            <a:off x="-292614" y="-292947"/>
            <a:ext cx="24971255" cy="14305281"/>
            <a:chOff x="0" y="0"/>
            <a:chExt cx="24971254" cy="14305280"/>
          </a:xfrm>
        </p:grpSpPr>
        <p:grpSp>
          <p:nvGrpSpPr>
            <p:cNvPr id="799" name="Group 59"/>
            <p:cNvGrpSpPr/>
            <p:nvPr/>
          </p:nvGrpSpPr>
          <p:grpSpPr>
            <a:xfrm>
              <a:off x="903906" y="-1"/>
              <a:ext cx="23164620" cy="243842"/>
              <a:chOff x="0" y="0"/>
              <a:chExt cx="23164618" cy="243840"/>
            </a:xfrm>
          </p:grpSpPr>
          <p:sp>
            <p:nvSpPr>
              <p:cNvPr id="78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8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11" name="Group 60"/>
            <p:cNvGrpSpPr/>
            <p:nvPr/>
          </p:nvGrpSpPr>
          <p:grpSpPr>
            <a:xfrm>
              <a:off x="903906" y="14061440"/>
              <a:ext cx="23164620" cy="243841"/>
              <a:chOff x="0" y="0"/>
              <a:chExt cx="23164618" cy="243840"/>
            </a:xfrm>
          </p:grpSpPr>
          <p:sp>
            <p:nvSpPr>
              <p:cNvPr id="80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21" name="Group 61"/>
            <p:cNvGrpSpPr/>
            <p:nvPr/>
          </p:nvGrpSpPr>
          <p:grpSpPr>
            <a:xfrm>
              <a:off x="-1" y="926930"/>
              <a:ext cx="243842" cy="12438551"/>
              <a:chOff x="0" y="0"/>
              <a:chExt cx="243840" cy="12438549"/>
            </a:xfrm>
          </p:grpSpPr>
          <p:sp>
            <p:nvSpPr>
              <p:cNvPr id="81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31" name="Group 62"/>
            <p:cNvGrpSpPr/>
            <p:nvPr/>
          </p:nvGrpSpPr>
          <p:grpSpPr>
            <a:xfrm>
              <a:off x="24727414" y="926930"/>
              <a:ext cx="243841" cy="12435842"/>
              <a:chOff x="0" y="0"/>
              <a:chExt cx="243840" cy="12435840"/>
            </a:xfrm>
          </p:grpSpPr>
          <p:sp>
            <p:nvSpPr>
              <p:cNvPr id="82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3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833"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834" name="Body Level One…"/>
          <p:cNvSpPr txBox="1">
            <a:spLocks noGrp="1"/>
          </p:cNvSpPr>
          <p:nvPr>
            <p:ph type="body" sz="quarter" idx="1"/>
          </p:nvPr>
        </p:nvSpPr>
        <p:spPr>
          <a:xfrm>
            <a:off x="585215" y="3341623"/>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875" name="Group"/>
          <p:cNvGrpSpPr/>
          <p:nvPr/>
        </p:nvGrpSpPr>
        <p:grpSpPr>
          <a:xfrm>
            <a:off x="-292614" y="-292947"/>
            <a:ext cx="24971255" cy="14305281"/>
            <a:chOff x="0" y="0"/>
            <a:chExt cx="24971254" cy="14305280"/>
          </a:xfrm>
        </p:grpSpPr>
        <p:sp>
          <p:nvSpPr>
            <p:cNvPr id="835"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6"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7"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8"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9"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0"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1"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2"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3"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4"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5"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6"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7"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8"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9"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0"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1"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2"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3"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4"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5"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6"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7"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8"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9"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0"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1"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2"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3"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4"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5"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6"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7"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8"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9"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0"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1"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2"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3"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4"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876"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877"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878"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957892417"/>
      </p:ext>
    </p:extLst>
  </p:cSld>
  <p:clrMapOvr>
    <a:masterClrMapping/>
  </p:clrMapOvr>
  <p:transition spd="med"/>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x">
  <p:cSld name="boxes (3 med, 2 small)">
    <p:bg>
      <p:bgPr>
        <a:solidFill>
          <a:srgbClr val="F4F4F4"/>
        </a:solidFill>
        <a:effectLst/>
      </p:bgPr>
    </p:bg>
    <p:spTree>
      <p:nvGrpSpPr>
        <p:cNvPr id="1" name=""/>
        <p:cNvGrpSpPr/>
        <p:nvPr/>
      </p:nvGrpSpPr>
      <p:grpSpPr>
        <a:xfrm>
          <a:off x="0" y="0"/>
          <a:ext cx="0" cy="0"/>
          <a:chOff x="0" y="0"/>
          <a:chExt cx="0" cy="0"/>
        </a:xfrm>
      </p:grpSpPr>
      <p:grpSp>
        <p:nvGrpSpPr>
          <p:cNvPr id="929" name="Group 58"/>
          <p:cNvGrpSpPr/>
          <p:nvPr/>
        </p:nvGrpSpPr>
        <p:grpSpPr>
          <a:xfrm>
            <a:off x="-292614" y="-292947"/>
            <a:ext cx="24971255" cy="14305281"/>
            <a:chOff x="0" y="0"/>
            <a:chExt cx="24971254" cy="14305280"/>
          </a:xfrm>
        </p:grpSpPr>
        <p:grpSp>
          <p:nvGrpSpPr>
            <p:cNvPr id="896" name="Group 59"/>
            <p:cNvGrpSpPr/>
            <p:nvPr/>
          </p:nvGrpSpPr>
          <p:grpSpPr>
            <a:xfrm>
              <a:off x="903906" y="-1"/>
              <a:ext cx="23164620" cy="243842"/>
              <a:chOff x="0" y="0"/>
              <a:chExt cx="23164618" cy="243840"/>
            </a:xfrm>
          </p:grpSpPr>
          <p:sp>
            <p:nvSpPr>
              <p:cNvPr id="885"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6"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7"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8"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9"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0"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1"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2"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3"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4"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5"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08" name="Group 60"/>
            <p:cNvGrpSpPr/>
            <p:nvPr/>
          </p:nvGrpSpPr>
          <p:grpSpPr>
            <a:xfrm>
              <a:off x="903906" y="14061440"/>
              <a:ext cx="23164620" cy="243841"/>
              <a:chOff x="0" y="0"/>
              <a:chExt cx="23164618" cy="243840"/>
            </a:xfrm>
          </p:grpSpPr>
          <p:sp>
            <p:nvSpPr>
              <p:cNvPr id="897"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8"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9"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0"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1"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2"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3"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4"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5"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6"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7"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18" name="Group 61"/>
            <p:cNvGrpSpPr/>
            <p:nvPr/>
          </p:nvGrpSpPr>
          <p:grpSpPr>
            <a:xfrm>
              <a:off x="-1" y="926930"/>
              <a:ext cx="243842" cy="12438551"/>
              <a:chOff x="0" y="0"/>
              <a:chExt cx="243840" cy="12438549"/>
            </a:xfrm>
          </p:grpSpPr>
          <p:sp>
            <p:nvSpPr>
              <p:cNvPr id="909"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0"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1"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2"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3"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4"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5"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6"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7"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28" name="Group 62"/>
            <p:cNvGrpSpPr/>
            <p:nvPr/>
          </p:nvGrpSpPr>
          <p:grpSpPr>
            <a:xfrm>
              <a:off x="24727414" y="926930"/>
              <a:ext cx="243841" cy="12435842"/>
              <a:chOff x="0" y="0"/>
              <a:chExt cx="243840" cy="12435840"/>
            </a:xfrm>
          </p:grpSpPr>
          <p:sp>
            <p:nvSpPr>
              <p:cNvPr id="919"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0"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1"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2"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3"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4"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5"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6"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7"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930" name="Title Text"/>
          <p:cNvSpPr txBox="1">
            <a:spLocks noGrp="1"/>
          </p:cNvSpPr>
          <p:nvPr>
            <p:ph type="title"/>
          </p:nvPr>
        </p:nvSpPr>
        <p:spPr>
          <a:xfrm>
            <a:off x="-1" y="-3"/>
            <a:ext cx="12192001" cy="6858004"/>
          </a:xfrm>
          <a:prstGeom prst="rect">
            <a:avLst/>
          </a:prstGeom>
          <a:solidFill>
            <a:srgbClr val="0530AD"/>
          </a:solidFill>
        </p:spPr>
        <p:txBody>
          <a:bodyPr lIns="508000" tIns="508000" rIns="508000" bIns="508000">
            <a:normAutofit/>
          </a:bodyPr>
          <a:lstStyle>
            <a:lvl1pPr marL="101600" defTabSz="2438400">
              <a:defRPr b="0">
                <a:solidFill>
                  <a:srgbClr val="FFFFFF"/>
                </a:solidFill>
                <a:latin typeface="Arial"/>
                <a:ea typeface="Arial"/>
                <a:cs typeface="Arial"/>
                <a:sym typeface="Arial"/>
              </a:defRPr>
            </a:lvl1pPr>
          </a:lstStyle>
          <a:p>
            <a:r>
              <a:t>Title Text</a:t>
            </a:r>
          </a:p>
        </p:txBody>
      </p:sp>
      <p:sp>
        <p:nvSpPr>
          <p:cNvPr id="931" name="Body Level One…"/>
          <p:cNvSpPr txBox="1">
            <a:spLocks noGrp="1"/>
          </p:cNvSpPr>
          <p:nvPr>
            <p:ph type="body" sz="quarter" idx="1"/>
          </p:nvPr>
        </p:nvSpPr>
        <p:spPr>
          <a:xfrm>
            <a:off x="12192000" y="-1"/>
            <a:ext cx="6096000" cy="6858001"/>
          </a:xfrm>
          <a:prstGeom prst="rect">
            <a:avLst/>
          </a:prstGeom>
          <a:solidFill>
            <a:srgbClr val="0F62FE"/>
          </a:solidFill>
        </p:spPr>
        <p:txBody>
          <a:bodyPr lIns="558800" tIns="558800" rIns="558800" bIns="558800"/>
          <a:lstStyle>
            <a:lvl1pPr marL="50800" defTabSz="2438400">
              <a:lnSpc>
                <a:spcPct val="100000"/>
              </a:lnSpc>
              <a:spcBef>
                <a:spcPts val="2900"/>
              </a:spcBef>
              <a:defRPr sz="3600">
                <a:solidFill>
                  <a:srgbClr val="FFFFFF"/>
                </a:solidFill>
                <a:latin typeface="Arial"/>
                <a:ea typeface="Arial"/>
                <a:cs typeface="Arial"/>
                <a:sym typeface="Arial"/>
              </a:defRPr>
            </a:lvl1pPr>
            <a:lvl2pPr marL="495265" indent="-446749" defTabSz="2438400">
              <a:lnSpc>
                <a:spcPct val="100000"/>
              </a:lnSpc>
              <a:spcBef>
                <a:spcPts val="2900"/>
              </a:spcBef>
              <a:buChar char="–"/>
              <a:defRPr sz="3600">
                <a:solidFill>
                  <a:srgbClr val="FFFFFF"/>
                </a:solidFill>
                <a:latin typeface="Arial"/>
                <a:ea typeface="Arial"/>
                <a:cs typeface="Arial"/>
                <a:sym typeface="Arial"/>
              </a:defRPr>
            </a:lvl2pPr>
            <a:lvl3pPr marL="666718" indent="-446749" defTabSz="2438400">
              <a:lnSpc>
                <a:spcPct val="100000"/>
              </a:lnSpc>
              <a:spcBef>
                <a:spcPts val="2900"/>
              </a:spcBef>
              <a:defRPr sz="3600">
                <a:solidFill>
                  <a:srgbClr val="FFFFFF"/>
                </a:solidFill>
                <a:latin typeface="Arial"/>
                <a:ea typeface="Arial"/>
                <a:cs typeface="Arial"/>
                <a:sym typeface="Arial"/>
              </a:defRPr>
            </a:lvl3pPr>
            <a:lvl4pPr marL="952471" indent="-446749" defTabSz="2438400">
              <a:lnSpc>
                <a:spcPct val="100000"/>
              </a:lnSpc>
              <a:spcBef>
                <a:spcPts val="2900"/>
              </a:spcBef>
              <a:buChar char="–"/>
              <a:defRPr sz="3600">
                <a:solidFill>
                  <a:srgbClr val="FFFFFF"/>
                </a:solidFill>
                <a:latin typeface="Arial"/>
                <a:ea typeface="Arial"/>
                <a:cs typeface="Arial"/>
                <a:sym typeface="Arial"/>
              </a:defRPr>
            </a:lvl4pPr>
            <a:lvl5pPr marL="1127098" indent="-446749" defTabSz="2438400">
              <a:lnSpc>
                <a:spcPct val="100000"/>
              </a:lnSpc>
              <a:spcBef>
                <a:spcPts val="2900"/>
              </a:spcBef>
              <a:buChar char="»"/>
              <a:defRPr sz="36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972" name="Group"/>
          <p:cNvGrpSpPr/>
          <p:nvPr/>
        </p:nvGrpSpPr>
        <p:grpSpPr>
          <a:xfrm>
            <a:off x="-292614" y="-292947"/>
            <a:ext cx="24971255" cy="14305281"/>
            <a:chOff x="0" y="0"/>
            <a:chExt cx="24971254" cy="14305280"/>
          </a:xfrm>
        </p:grpSpPr>
        <p:sp>
          <p:nvSpPr>
            <p:cNvPr id="932"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3"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4"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5"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6"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7"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8"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9"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0"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1"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2"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3"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4"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5"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6"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7"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8"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9"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0"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1"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2"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3"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4"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5"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6"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7"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8"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9"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0"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1"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2"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3"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4"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5"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6"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7"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8"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9"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0"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1"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973"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974"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75"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403775727"/>
      </p:ext>
    </p:extLst>
  </p:cSld>
  <p:clrMapOvr>
    <a:masterClrMapping/>
  </p:clrMapOvr>
  <p:transition spd="med"/>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tx">
  <p:cSld name="4 Grid white">
    <p:bg>
      <p:bgPr>
        <a:solidFill>
          <a:srgbClr val="FFFFFF"/>
        </a:solidFill>
        <a:effectLst/>
      </p:bgPr>
    </p:bg>
    <p:spTree>
      <p:nvGrpSpPr>
        <p:cNvPr id="1" name=""/>
        <p:cNvGrpSpPr/>
        <p:nvPr/>
      </p:nvGrpSpPr>
      <p:grpSpPr>
        <a:xfrm>
          <a:off x="0" y="0"/>
          <a:ext cx="0" cy="0"/>
          <a:chOff x="0" y="0"/>
          <a:chExt cx="0" cy="0"/>
        </a:xfrm>
      </p:grpSpPr>
      <p:sp>
        <p:nvSpPr>
          <p:cNvPr id="982" name="Rectangle"/>
          <p:cNvSpPr/>
          <p:nvPr/>
        </p:nvSpPr>
        <p:spPr>
          <a:xfrm>
            <a:off x="12203513" y="4740"/>
            <a:ext cx="12161632" cy="13706521"/>
          </a:xfrm>
          <a:prstGeom prst="rect">
            <a:avLst/>
          </a:prstGeom>
          <a:solidFill>
            <a:srgbClr val="F4F4F4"/>
          </a:solidFill>
          <a:ln w="12700">
            <a:miter lim="400000"/>
          </a:ln>
        </p:spPr>
        <p:txBody>
          <a:bodyPr lIns="50800" tIns="50800" rIns="50800" bIns="50800" anchor="ctr"/>
          <a:lstStyle/>
          <a:p>
            <a:pPr defTabSz="2438337">
              <a:defRPr sz="2300"/>
            </a:pPr>
            <a:endParaRPr/>
          </a:p>
        </p:txBody>
      </p:sp>
      <p:sp>
        <p:nvSpPr>
          <p:cNvPr id="983" name="Title"/>
          <p:cNvSpPr txBox="1">
            <a:spLocks noGrp="1"/>
          </p:cNvSpPr>
          <p:nvPr>
            <p:ph type="body" sz="quarter" idx="21"/>
          </p:nvPr>
        </p:nvSpPr>
        <p:spPr>
          <a:xfrm>
            <a:off x="619028" y="413231"/>
            <a:ext cx="10962549" cy="876301"/>
          </a:xfrm>
          <a:prstGeom prst="rect">
            <a:avLst/>
          </a:prstGeom>
        </p:spPr>
        <p:txBody>
          <a:bodyPr>
            <a:spAutoFit/>
          </a:bodyPr>
          <a:lstStyle>
            <a:lvl1pPr defTabSz="825500">
              <a:lnSpc>
                <a:spcPct val="100000"/>
              </a:lnSpc>
              <a:spcBef>
                <a:spcPts val="3000"/>
              </a:spcBef>
              <a:defRPr sz="5300">
                <a:latin typeface="IBM Plex Sans Light"/>
                <a:ea typeface="IBM Plex Sans Light"/>
                <a:cs typeface="IBM Plex Sans Light"/>
                <a:sym typeface="IBM Plex Sans Light"/>
              </a:defRPr>
            </a:lvl1pPr>
          </a:lstStyle>
          <a:p>
            <a:r>
              <a:t>Title</a:t>
            </a:r>
          </a:p>
        </p:txBody>
      </p:sp>
      <p:pic>
        <p:nvPicPr>
          <p:cNvPr id="984"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985"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86" name="Slide Number"/>
          <p:cNvSpPr txBox="1">
            <a:spLocks noGrp="1"/>
          </p:cNvSpPr>
          <p:nvPr>
            <p:ph type="sldNum" sz="quarter" idx="2"/>
          </p:nvPr>
        </p:nvSpPr>
        <p:spPr>
          <a:xfrm>
            <a:off x="629252" y="12894733"/>
            <a:ext cx="226061" cy="228601"/>
          </a:xfrm>
          <a:prstGeom prst="rect">
            <a:avLst/>
          </a:prstGeom>
        </p:spPr>
        <p:txBody>
          <a:bodyPr anchor="t"/>
          <a:lstStyle>
            <a:lvl1pPr algn="l" defTabSz="825500">
              <a:lnSpc>
                <a:spcPct val="90000"/>
              </a:lnSpc>
              <a:defRPr sz="1400" b="1">
                <a:solidFill>
                  <a:srgbClr val="150935"/>
                </a:solidFill>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31635748"/>
      </p:ext>
    </p:extLst>
  </p:cSld>
  <p:clrMapOvr>
    <a:masterClrMapping/>
  </p:clrMapOvr>
  <p:transition spd="med"/>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tx">
  <p:cSld name="1_Blank">
    <p:spTree>
      <p:nvGrpSpPr>
        <p:cNvPr id="1" name=""/>
        <p:cNvGrpSpPr/>
        <p:nvPr/>
      </p:nvGrpSpPr>
      <p:grpSpPr>
        <a:xfrm>
          <a:off x="0" y="0"/>
          <a:ext cx="0" cy="0"/>
          <a:chOff x="0" y="0"/>
          <a:chExt cx="0" cy="0"/>
        </a:xfrm>
      </p:grpSpPr>
      <p:sp>
        <p:nvSpPr>
          <p:cNvPr id="993" name="Welcome to Customer Success Management"/>
          <p:cNvSpPr txBox="1">
            <a:spLocks noGrp="1"/>
          </p:cNvSpPr>
          <p:nvPr>
            <p:ph type="body" sz="quarter" idx="21"/>
          </p:nvPr>
        </p:nvSpPr>
        <p:spPr>
          <a:xfrm>
            <a:off x="762000" y="3037945"/>
            <a:ext cx="7775937" cy="1422401"/>
          </a:xfrm>
          <a:prstGeom prst="rect">
            <a:avLst/>
          </a:prstGeom>
        </p:spPr>
        <p:txBody>
          <a:bodyPr lIns="50800" tIns="50800" rIns="50800" bIns="50800" anchor="ctr">
            <a:spAutoFit/>
          </a:bodyPr>
          <a:lstStyle>
            <a:lvl1pPr defTabSz="2438338">
              <a:lnSpc>
                <a:spcPct val="100000"/>
              </a:lnSpc>
              <a:spcBef>
                <a:spcPts val="0"/>
              </a:spcBef>
              <a:defRPr sz="4000">
                <a:solidFill>
                  <a:srgbClr val="FFFFFF"/>
                </a:solidFill>
                <a:latin typeface="IBM Plex Sans Light"/>
                <a:ea typeface="IBM Plex Sans Light"/>
                <a:cs typeface="IBM Plex Sans Light"/>
                <a:sym typeface="IBM Plex Sans Light"/>
              </a:defRPr>
            </a:lvl1pPr>
          </a:lstStyle>
          <a:p>
            <a:r>
              <a:t>Welcome to Customer Success Management</a:t>
            </a:r>
          </a:p>
        </p:txBody>
      </p:sp>
      <p:sp>
        <p:nvSpPr>
          <p:cNvPr id="994" name="Title"/>
          <p:cNvSpPr txBox="1">
            <a:spLocks noGrp="1"/>
          </p:cNvSpPr>
          <p:nvPr>
            <p:ph type="body" sz="quarter" idx="22"/>
          </p:nvPr>
        </p:nvSpPr>
        <p:spPr>
          <a:xfrm>
            <a:off x="13047726" y="3037945"/>
            <a:ext cx="2098549" cy="1422401"/>
          </a:xfrm>
          <a:prstGeom prst="rect">
            <a:avLst/>
          </a:prstGeom>
        </p:spPr>
        <p:txBody>
          <a:bodyPr wrap="none" lIns="50800" tIns="50800" rIns="50800" bIns="50800" anchor="ctr">
            <a:spAutoFit/>
          </a:bodyPr>
          <a:lstStyle>
            <a:lvl1pPr defTabSz="2438338">
              <a:lnSpc>
                <a:spcPct val="100000"/>
              </a:lnSpc>
              <a:spcBef>
                <a:spcPts val="0"/>
              </a:spcBef>
              <a:defRPr sz="8000">
                <a:solidFill>
                  <a:srgbClr val="FFFFFF"/>
                </a:solidFill>
                <a:latin typeface="IBM Plex Sans Light"/>
                <a:ea typeface="IBM Plex Sans Light"/>
                <a:cs typeface="IBM Plex Sans Light"/>
                <a:sym typeface="IBM Plex Sans Light"/>
              </a:defRPr>
            </a:lvl1pPr>
          </a:lstStyle>
          <a:p>
            <a:r>
              <a:t>Title</a:t>
            </a:r>
          </a:p>
        </p:txBody>
      </p:sp>
      <p:pic>
        <p:nvPicPr>
          <p:cNvPr id="995" name="Image" descr="Image"/>
          <p:cNvPicPr>
            <a:picLocks noChangeAspect="1"/>
          </p:cNvPicPr>
          <p:nvPr/>
        </p:nvPicPr>
        <p:blipFill>
          <a:blip r:embed="rId2"/>
          <a:stretch>
            <a:fillRect/>
          </a:stretch>
        </p:blipFill>
        <p:spPr>
          <a:xfrm>
            <a:off x="432215" y="13016052"/>
            <a:ext cx="716923" cy="549610"/>
          </a:xfrm>
          <a:prstGeom prst="rect">
            <a:avLst/>
          </a:prstGeom>
          <a:ln w="12700">
            <a:miter lim="400000"/>
          </a:ln>
        </p:spPr>
      </p:pic>
      <p:sp>
        <p:nvSpPr>
          <p:cNvPr id="996" name="IBM Customer Success / © 2021 IBM Corporation"/>
          <p:cNvSpPr txBox="1"/>
          <p:nvPr/>
        </p:nvSpPr>
        <p:spPr>
          <a:xfrm>
            <a:off x="1059180" y="131550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97" name="Slide Number"/>
          <p:cNvSpPr txBox="1">
            <a:spLocks noGrp="1"/>
          </p:cNvSpPr>
          <p:nvPr>
            <p:ph type="sldNum" sz="quarter" idx="2"/>
          </p:nvPr>
        </p:nvSpPr>
        <p:spPr>
          <a:xfrm>
            <a:off x="23197922" y="12531700"/>
            <a:ext cx="480061" cy="508001"/>
          </a:xfrm>
          <a:prstGeom prst="rect">
            <a:avLst/>
          </a:prstGeom>
        </p:spPr>
        <p:txBody>
          <a:bodyPr lIns="50800" tIns="50800" rIns="50800" bIns="50800" anchor="b"/>
          <a:lstStyle>
            <a:lvl1pPr defTabSz="584200">
              <a:defRPr sz="2400">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359097602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title, text (two columns, different text sizes)">
    <p:spTree>
      <p:nvGrpSpPr>
        <p:cNvPr id="1" name=""/>
        <p:cNvGrpSpPr/>
        <p:nvPr/>
      </p:nvGrpSpPr>
      <p:grpSpPr>
        <a:xfrm>
          <a:off x="0" y="0"/>
          <a:ext cx="0" cy="0"/>
          <a:chOff x="0" y="0"/>
          <a:chExt cx="0" cy="0"/>
        </a:xfrm>
      </p:grpSpPr>
      <p:grpSp>
        <p:nvGrpSpPr>
          <p:cNvPr id="374" name="Group 1"/>
          <p:cNvGrpSpPr/>
          <p:nvPr/>
        </p:nvGrpSpPr>
        <p:grpSpPr>
          <a:xfrm>
            <a:off x="-292614" y="-292947"/>
            <a:ext cx="24971255" cy="14305281"/>
            <a:chOff x="0" y="0"/>
            <a:chExt cx="24971254" cy="14305280"/>
          </a:xfrm>
        </p:grpSpPr>
        <p:grpSp>
          <p:nvGrpSpPr>
            <p:cNvPr id="341" name="Group 59"/>
            <p:cNvGrpSpPr/>
            <p:nvPr/>
          </p:nvGrpSpPr>
          <p:grpSpPr>
            <a:xfrm>
              <a:off x="903906" y="-1"/>
              <a:ext cx="23164620" cy="243842"/>
              <a:chOff x="0" y="0"/>
              <a:chExt cx="23164618" cy="243840"/>
            </a:xfrm>
          </p:grpSpPr>
          <p:sp>
            <p:nvSpPr>
              <p:cNvPr id="33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53" name="Group 60"/>
            <p:cNvGrpSpPr/>
            <p:nvPr/>
          </p:nvGrpSpPr>
          <p:grpSpPr>
            <a:xfrm>
              <a:off x="903906" y="14061440"/>
              <a:ext cx="23164620" cy="243841"/>
              <a:chOff x="0" y="0"/>
              <a:chExt cx="23164618" cy="243840"/>
            </a:xfrm>
          </p:grpSpPr>
          <p:sp>
            <p:nvSpPr>
              <p:cNvPr id="34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63" name="Group 61"/>
            <p:cNvGrpSpPr/>
            <p:nvPr/>
          </p:nvGrpSpPr>
          <p:grpSpPr>
            <a:xfrm>
              <a:off x="-1" y="926930"/>
              <a:ext cx="243842" cy="12438551"/>
              <a:chOff x="0" y="0"/>
              <a:chExt cx="243840" cy="12438549"/>
            </a:xfrm>
          </p:grpSpPr>
          <p:sp>
            <p:nvSpPr>
              <p:cNvPr id="35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73" name="Group 62"/>
            <p:cNvGrpSpPr/>
            <p:nvPr/>
          </p:nvGrpSpPr>
          <p:grpSpPr>
            <a:xfrm>
              <a:off x="24727414" y="926930"/>
              <a:ext cx="243841" cy="12435842"/>
              <a:chOff x="0" y="0"/>
              <a:chExt cx="243840" cy="12435840"/>
            </a:xfrm>
          </p:grpSpPr>
          <p:sp>
            <p:nvSpPr>
              <p:cNvPr id="36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375" name="Title Text"/>
          <p:cNvSpPr txBox="1">
            <a:spLocks noGrp="1"/>
          </p:cNvSpPr>
          <p:nvPr>
            <p:ph type="title"/>
          </p:nvPr>
        </p:nvSpPr>
        <p:spPr>
          <a:xfrm>
            <a:off x="649731" y="372533"/>
            <a:ext cx="11045953" cy="2145793"/>
          </a:xfrm>
          <a:prstGeom prst="rect">
            <a:avLst/>
          </a:prstGeom>
        </p:spPr>
        <p:txBody>
          <a:bodyPr>
            <a:normAutofit/>
          </a:bodyPr>
          <a:lstStyle>
            <a:lvl1pPr defTabSz="2438400">
              <a:defRPr b="0">
                <a:solidFill>
                  <a:srgbClr val="FFFFFF"/>
                </a:solidFill>
              </a:defRPr>
            </a:lvl1pPr>
          </a:lstStyle>
          <a:p>
            <a:r>
              <a:t>Title Text</a:t>
            </a:r>
          </a:p>
        </p:txBody>
      </p:sp>
      <p:sp>
        <p:nvSpPr>
          <p:cNvPr id="376" name="Body Level One…"/>
          <p:cNvSpPr txBox="1">
            <a:spLocks noGrp="1"/>
          </p:cNvSpPr>
          <p:nvPr>
            <p:ph type="body" sz="half" idx="1"/>
          </p:nvPr>
        </p:nvSpPr>
        <p:spPr>
          <a:xfrm>
            <a:off x="649731" y="3281171"/>
            <a:ext cx="11045953" cy="8745729"/>
          </a:xfrm>
          <a:prstGeom prst="rect">
            <a:avLst/>
          </a:prstGeom>
        </p:spPr>
        <p:txBody>
          <a:bodyPr/>
          <a:lstStyle>
            <a:lvl1pPr defTabSz="2438400">
              <a:lnSpc>
                <a:spcPct val="100000"/>
              </a:lnSpc>
              <a:spcBef>
                <a:spcPts val="2900"/>
              </a:spcBef>
              <a:defRPr sz="6400">
                <a:solidFill>
                  <a:srgbClr val="FFFFFF"/>
                </a:solidFill>
              </a:defRPr>
            </a:lvl1pPr>
            <a:lvl2pPr marL="791937" indent="-794221" defTabSz="2438400">
              <a:lnSpc>
                <a:spcPct val="100000"/>
              </a:lnSpc>
              <a:spcBef>
                <a:spcPts val="2900"/>
              </a:spcBef>
              <a:buChar char="–"/>
              <a:defRPr sz="6400">
                <a:solidFill>
                  <a:srgbClr val="FFFFFF"/>
                </a:solidFill>
              </a:defRPr>
            </a:lvl2pPr>
            <a:lvl3pPr marL="963390" indent="-794221" defTabSz="2438400">
              <a:lnSpc>
                <a:spcPct val="100000"/>
              </a:lnSpc>
              <a:spcBef>
                <a:spcPts val="2900"/>
              </a:spcBef>
              <a:defRPr sz="6400">
                <a:solidFill>
                  <a:srgbClr val="FFFFFF"/>
                </a:solidFill>
              </a:defRPr>
            </a:lvl3pPr>
            <a:lvl4pPr marL="1249143" indent="-794221" defTabSz="2438400">
              <a:lnSpc>
                <a:spcPct val="100000"/>
              </a:lnSpc>
              <a:spcBef>
                <a:spcPts val="2900"/>
              </a:spcBef>
              <a:buChar char="–"/>
              <a:defRPr sz="6400">
                <a:solidFill>
                  <a:srgbClr val="FFFFFF"/>
                </a:solidFill>
              </a:defRPr>
            </a:lvl4pPr>
            <a:lvl5pPr marL="1423770" indent="-794221" defTabSz="2438400">
              <a:lnSpc>
                <a:spcPct val="100000"/>
              </a:lnSpc>
              <a:spcBef>
                <a:spcPts val="2900"/>
              </a:spcBef>
              <a:buChar char="»"/>
              <a:defRPr sz="64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377" name="Text Placeholder"/>
          <p:cNvSpPr>
            <a:spLocks noGrp="1"/>
          </p:cNvSpPr>
          <p:nvPr>
            <p:ph type="body" sz="half" idx="21"/>
          </p:nvPr>
        </p:nvSpPr>
        <p:spPr>
          <a:xfrm>
            <a:off x="12777216" y="3316223"/>
            <a:ext cx="10997185" cy="8672575"/>
          </a:xfrm>
          <a:prstGeom prst="rect">
            <a:avLst/>
          </a:prstGeom>
        </p:spPr>
        <p:txBody>
          <a:bodyPr/>
          <a:lstStyle/>
          <a:p>
            <a:pPr defTabSz="2438400">
              <a:lnSpc>
                <a:spcPct val="100000"/>
              </a:lnSpc>
              <a:spcBef>
                <a:spcPts val="2900"/>
              </a:spcBef>
              <a:defRPr sz="3600" b="1">
                <a:solidFill>
                  <a:srgbClr val="FFFFFF"/>
                </a:solidFill>
                <a:latin typeface="Arial"/>
                <a:ea typeface="Arial"/>
                <a:cs typeface="Arial"/>
                <a:sym typeface="Arial"/>
              </a:defRPr>
            </a:pPr>
            <a:endParaRPr/>
          </a:p>
        </p:txBody>
      </p:sp>
      <p:pic>
        <p:nvPicPr>
          <p:cNvPr id="378"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379"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380"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1"/>
            <a:ext cx="6096000" cy="13728191"/>
          </a:xfrm>
          <a:solidFill>
            <a:srgbClr val="031973"/>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6096000" y="1"/>
            <a:ext cx="6096000" cy="13728191"/>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12192000" y="1"/>
            <a:ext cx="6096000" cy="13728191"/>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18288000" y="1"/>
            <a:ext cx="6096000" cy="13728191"/>
          </a:xfrm>
          <a:solidFill>
            <a:srgbClr val="6BA5FF"/>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619176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3"/>
          </p:nvPr>
        </p:nvSpPr>
        <p:spPr>
          <a:xfrm>
            <a:off x="6705600" y="3316225"/>
            <a:ext cx="17068800"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69993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1192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1"/>
            <a:ext cx="12192000" cy="13716000"/>
          </a:xfrm>
        </p:spPr>
        <p:txBody>
          <a:bodyPr lIns="91440" tIns="91440" rIns="91440" bIns="91440"/>
          <a:lstStyle/>
          <a:p>
            <a:r>
              <a:rPr lang="en-US"/>
              <a:t>Click icon to add picture</a:t>
            </a:r>
          </a:p>
        </p:txBody>
      </p:sp>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6681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31835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28448" y="3243073"/>
            <a:ext cx="11045952" cy="8745727"/>
          </a:xfrm>
        </p:spPr>
        <p:txBody>
          <a:bodyPr/>
          <a:lstStyle>
            <a:lvl1pPr>
              <a:defRPr sz="639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7477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536449"/>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6681216" y="536449"/>
            <a:ext cx="17093003" cy="11452352"/>
          </a:xfrm>
        </p:spPr>
        <p:txBody>
          <a:bodyPr lIns="0" tIns="0" rIns="91440" bIns="91440"/>
          <a:lstStyle/>
          <a:p>
            <a:r>
              <a:rPr lang="en-US"/>
              <a:t>Click icon to add table</a:t>
            </a:r>
          </a:p>
        </p:txBody>
      </p:sp>
    </p:spTree>
    <p:extLst>
      <p:ext uri="{BB962C8B-B14F-4D97-AF65-F5344CB8AC3E}">
        <p14:creationId xmlns:p14="http://schemas.microsoft.com/office/powerpoint/2010/main" val="1858864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410433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51825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64993"/>
            <a:ext cx="10997184" cy="8623808"/>
          </a:xfrm>
        </p:spPr>
        <p:txBody>
          <a:bodyPr/>
          <a:lstStyle>
            <a:lvl1pPr>
              <a:spcBef>
                <a:spcPts val="0"/>
              </a:spcBef>
              <a:defRPr sz="2664"/>
            </a:lvl1pPr>
            <a:lvl2pPr marL="0" indent="0">
              <a:spcBef>
                <a:spcPts val="0"/>
              </a:spcBef>
              <a:buNone/>
              <a:defRPr/>
            </a:lvl2pPr>
            <a:lvl3pPr marL="537135" indent="0">
              <a:buNone/>
              <a:defRPr/>
            </a:lvl3pPr>
            <a:lvl4pPr marL="1158860" indent="0">
              <a:buNone/>
              <a:defRPr/>
            </a:lvl4pPr>
            <a:lvl5pPr marL="1683308" indent="0">
              <a:buNone/>
              <a:defRPr/>
            </a:lvl5pPr>
          </a:lstStyle>
          <a:p>
            <a:pPr lvl="0"/>
            <a:r>
              <a:rPr lang="en-US"/>
              <a:t>Click to edit Master text styles</a:t>
            </a:r>
          </a:p>
        </p:txBody>
      </p:sp>
    </p:spTree>
    <p:extLst>
      <p:ext uri="{BB962C8B-B14F-4D97-AF65-F5344CB8AC3E}">
        <p14:creationId xmlns:p14="http://schemas.microsoft.com/office/powerpoint/2010/main" val="25728911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9208" y="6156541"/>
            <a:ext cx="3445584" cy="1402925"/>
          </a:xfrm>
          <a:prstGeom prst="rect">
            <a:avLst/>
          </a:prstGeom>
        </p:spPr>
      </p:pic>
    </p:spTree>
    <p:extLst>
      <p:ext uri="{BB962C8B-B14F-4D97-AF65-F5344CB8AC3E}">
        <p14:creationId xmlns:p14="http://schemas.microsoft.com/office/powerpoint/2010/main" val="10157601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cover">
    <p:spTree>
      <p:nvGrpSpPr>
        <p:cNvPr id="1" name=""/>
        <p:cNvGrpSpPr/>
        <p:nvPr/>
      </p:nvGrpSpPr>
      <p:grpSpPr>
        <a:xfrm>
          <a:off x="0" y="0"/>
          <a:ext cx="0" cy="0"/>
          <a:chOff x="0" y="0"/>
          <a:chExt cx="0" cy="0"/>
        </a:xfrm>
      </p:grpSpPr>
      <p:grpSp>
        <p:nvGrpSpPr>
          <p:cNvPr id="431" name="Group 1"/>
          <p:cNvGrpSpPr/>
          <p:nvPr/>
        </p:nvGrpSpPr>
        <p:grpSpPr>
          <a:xfrm>
            <a:off x="-292614" y="-292947"/>
            <a:ext cx="24971255" cy="14305281"/>
            <a:chOff x="0" y="0"/>
            <a:chExt cx="24971254" cy="14305280"/>
          </a:xfrm>
        </p:grpSpPr>
        <p:grpSp>
          <p:nvGrpSpPr>
            <p:cNvPr id="398" name="Group 59"/>
            <p:cNvGrpSpPr/>
            <p:nvPr/>
          </p:nvGrpSpPr>
          <p:grpSpPr>
            <a:xfrm>
              <a:off x="903906" y="-1"/>
              <a:ext cx="23164620" cy="243842"/>
              <a:chOff x="0" y="0"/>
              <a:chExt cx="23164618" cy="243840"/>
            </a:xfrm>
          </p:grpSpPr>
          <p:sp>
            <p:nvSpPr>
              <p:cNvPr id="387"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8"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9"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0"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1"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2"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3"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4"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5"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6"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7"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10" name="Group 60"/>
            <p:cNvGrpSpPr/>
            <p:nvPr/>
          </p:nvGrpSpPr>
          <p:grpSpPr>
            <a:xfrm>
              <a:off x="903906" y="14061440"/>
              <a:ext cx="23164620" cy="243841"/>
              <a:chOff x="0" y="0"/>
              <a:chExt cx="23164618" cy="243840"/>
            </a:xfrm>
          </p:grpSpPr>
          <p:sp>
            <p:nvSpPr>
              <p:cNvPr id="399"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0"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1"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2"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3"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4"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5"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6"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7"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8"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9"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20" name="Group 61"/>
            <p:cNvGrpSpPr/>
            <p:nvPr/>
          </p:nvGrpSpPr>
          <p:grpSpPr>
            <a:xfrm>
              <a:off x="-1" y="926930"/>
              <a:ext cx="243842" cy="12438551"/>
              <a:chOff x="0" y="0"/>
              <a:chExt cx="243840" cy="12438549"/>
            </a:xfrm>
          </p:grpSpPr>
          <p:sp>
            <p:nvSpPr>
              <p:cNvPr id="411"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2"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3"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4"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5"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6"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7"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8"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9"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30" name="Group 62"/>
            <p:cNvGrpSpPr/>
            <p:nvPr/>
          </p:nvGrpSpPr>
          <p:grpSpPr>
            <a:xfrm>
              <a:off x="24727414" y="926930"/>
              <a:ext cx="243841" cy="12435842"/>
              <a:chOff x="0" y="0"/>
              <a:chExt cx="243840" cy="12435840"/>
            </a:xfrm>
          </p:grpSpPr>
          <p:sp>
            <p:nvSpPr>
              <p:cNvPr id="421"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2"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3"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4"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5"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6"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7"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8"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9"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432" name="Title Text"/>
          <p:cNvSpPr txBox="1"/>
          <p:nvPr/>
        </p:nvSpPr>
        <p:spPr>
          <a:xfrm>
            <a:off x="649731" y="372533"/>
            <a:ext cx="11045953" cy="21457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FFFFFF"/>
                </a:solidFill>
                <a:latin typeface="IBM Plex Sans"/>
                <a:ea typeface="IBM Plex Sans"/>
                <a:cs typeface="IBM Plex Sans"/>
                <a:sym typeface="IBM Plex Sans"/>
              </a:defRPr>
            </a:lvl1pPr>
          </a:lstStyle>
          <a:p>
            <a:r>
              <a:t>Title Text</a:t>
            </a:r>
          </a:p>
        </p:txBody>
      </p:sp>
      <p:pic>
        <p:nvPicPr>
          <p:cNvPr id="433"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43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435" name="Slide Number"/>
          <p:cNvSpPr txBox="1">
            <a:spLocks noGrp="1"/>
          </p:cNvSpPr>
          <p:nvPr>
            <p:ph type="sldNum" sz="quarter" idx="2"/>
          </p:nvPr>
        </p:nvSpPr>
        <p:spPr>
          <a:xfrm>
            <a:off x="11785599" y="12344399"/>
            <a:ext cx="5689601" cy="736601"/>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GB"/>
              <a:t>Click to edit Master title style</a:t>
            </a:r>
            <a:endParaRPr lang="en-US" dirty="0"/>
          </a:p>
        </p:txBody>
      </p:sp>
      <p:pic>
        <p:nvPicPr>
          <p:cNvPr id="7"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383500" y="12514874"/>
            <a:ext cx="1390904" cy="551443"/>
          </a:xfrm>
          <a:prstGeom prst="rect">
            <a:avLst/>
          </a:prstGeom>
        </p:spPr>
      </p:pic>
      <p:pic>
        <p:nvPicPr>
          <p:cNvPr id="6" name="Picture 5" descr="A close up of a sign&#10;&#10;Description automatically generated">
            <a:extLst>
              <a:ext uri="{FF2B5EF4-FFF2-40B4-BE49-F238E27FC236}">
                <a16:creationId xmlns:a16="http://schemas.microsoft.com/office/drawing/2014/main" id="{FB619DEA-C2B6-DE47-8371-EA6E39BA0E3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9600" y="12207200"/>
            <a:ext cx="978325" cy="865928"/>
          </a:xfrm>
          <a:prstGeom prst="rect">
            <a:avLst/>
          </a:prstGeom>
        </p:spPr>
      </p:pic>
    </p:spTree>
    <p:extLst>
      <p:ext uri="{BB962C8B-B14F-4D97-AF65-F5344CB8AC3E}">
        <p14:creationId xmlns:p14="http://schemas.microsoft.com/office/powerpoint/2010/main" val="21960097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899771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p>
            <a:r>
              <a:rPr lang="en-GB"/>
              <a:t>Click to edit Master title style</a:t>
            </a:r>
            <a:endParaRPr lang="en-US" dirty="0"/>
          </a:p>
        </p:txBody>
      </p:sp>
      <p:sp>
        <p:nvSpPr>
          <p:cNvPr id="8" name="Text Placeholder 1"/>
          <p:cNvSpPr>
            <a:spLocks noGrp="1"/>
          </p:cNvSpPr>
          <p:nvPr>
            <p:ph type="body" sz="quarter" idx="13"/>
          </p:nvPr>
        </p:nvSpPr>
        <p:spPr>
          <a:xfrm>
            <a:off x="585216" y="3316225"/>
            <a:ext cx="10997184" cy="8672577"/>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2"/>
          </p:nvPr>
        </p:nvSpPr>
        <p:spPr>
          <a:xfrm>
            <a:off x="12777216" y="3316225"/>
            <a:ext cx="10997184" cy="8672577"/>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85343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5"/>
            <a:ext cx="11021568" cy="2145792"/>
          </a:xfrm>
        </p:spPr>
        <p:txBody>
          <a:bodyPr/>
          <a:lstStyle>
            <a:lvl1pPr>
              <a:defRPr sz="4263"/>
            </a:lvl1pPr>
          </a:lstStyle>
          <a:p>
            <a:r>
              <a:rPr lang="en-GB"/>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576" b="1" i="0">
                <a:latin typeface="IBM Plex Sans" panose="020B0503050203000203" pitchFamily="34" charset="0"/>
              </a:defRPr>
            </a:lvl1pPr>
          </a:lstStyle>
          <a:p>
            <a:pPr lvl="0"/>
            <a:r>
              <a:rPr lang="en-GB"/>
              <a:t>Click to edit Master text styles</a:t>
            </a:r>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55686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5"/>
            <a:ext cx="11021568" cy="2145792"/>
          </a:xfrm>
        </p:spPr>
        <p:txBody>
          <a:bodyPr/>
          <a:lstStyle>
            <a:lvl1pPr>
              <a:defRPr sz="4263"/>
            </a:lvl1pPr>
          </a:lstStyle>
          <a:p>
            <a:r>
              <a:rPr lang="en-GB"/>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576" b="1" i="0">
                <a:latin typeface="IBM Plex Sans" panose="020B0503050203000203" pitchFamily="34" charset="0"/>
              </a:defRPr>
            </a:lvl1pPr>
          </a:lstStyle>
          <a:p>
            <a:pPr lvl="0"/>
            <a:r>
              <a:rPr lang="en-GB"/>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12192000" y="1"/>
            <a:ext cx="12192000" cy="13716000"/>
          </a:xfrm>
        </p:spPr>
        <p:txBody>
          <a:bodyPr lIns="91440" tIns="91440" rIns="91440" bIns="91440"/>
          <a:lstStyle>
            <a:lvl1pPr>
              <a:defRPr baseline="0"/>
            </a:lvl1pPr>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71918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3" y="243839"/>
            <a:ext cx="23408459" cy="11744960"/>
          </a:xfrm>
        </p:spPr>
        <p:txBody>
          <a:bodyPr/>
          <a:lstStyle>
            <a:lvl1pPr>
              <a:defRPr sz="25576" b="1" i="0">
                <a:latin typeface="IBM Plex Sans" panose="020B0503050203000203" pitchFamily="34" charset="0"/>
              </a:defRPr>
            </a:lvl1pPr>
          </a:lstStyle>
          <a:p>
            <a:r>
              <a:rPr lang="en-GB" dirty="0"/>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dirty="0"/>
              <a:t>IBM Cloud / June 2021/ © 2021 IBM Corporation</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343052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6" y="536449"/>
            <a:ext cx="14833427" cy="11452352"/>
          </a:xfrm>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323463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6" name="Text Placeholder"/>
          <p:cNvSpPr>
            <a:spLocks noGrp="1"/>
          </p:cNvSpPr>
          <p:nvPr>
            <p:ph type="body" sz="quarter" idx="12"/>
          </p:nvPr>
        </p:nvSpPr>
        <p:spPr>
          <a:xfrm>
            <a:off x="12777216" y="536449"/>
            <a:ext cx="10997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32401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p:cNvSpPr>
            <a:spLocks noGrp="1"/>
          </p:cNvSpPr>
          <p:nvPr>
            <p:ph type="body" sz="quarter" idx="13"/>
          </p:nvPr>
        </p:nvSpPr>
        <p:spPr>
          <a:xfrm>
            <a:off x="585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p:cNvSpPr>
            <a:spLocks noGrp="1"/>
          </p:cNvSpPr>
          <p:nvPr>
            <p:ph type="body" sz="quarter" idx="12"/>
          </p:nvPr>
        </p:nvSpPr>
        <p:spPr>
          <a:xfrm>
            <a:off x="12777219" y="3316225"/>
            <a:ext cx="10997003"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847663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7" name="Content Placeholder"/>
          <p:cNvSpPr>
            <a:spLocks noGrp="1"/>
          </p:cNvSpPr>
          <p:nvPr>
            <p:ph sz="quarter" idx="13"/>
          </p:nvPr>
        </p:nvSpPr>
        <p:spPr>
          <a:xfrm>
            <a:off x="560832" y="3243073"/>
            <a:ext cx="11045952" cy="8745727"/>
          </a:xfrm>
        </p:spPr>
        <p:txBody>
          <a:bodyPr/>
          <a:lstStyle>
            <a:lvl1pPr>
              <a:defRPr sz="6394"/>
            </a:lvl1pPr>
          </a:lstStyle>
          <a:p>
            <a:pPr lvl="0"/>
            <a:r>
              <a:rPr lang="en-GB"/>
              <a:t>Click to edit Master text styles</a:t>
            </a:r>
          </a:p>
        </p:txBody>
      </p:sp>
      <p:sp>
        <p:nvSpPr>
          <p:cNvPr id="6" name="Text Placeholder"/>
          <p:cNvSpPr>
            <a:spLocks noGrp="1"/>
          </p:cNvSpPr>
          <p:nvPr>
            <p:ph type="body" sz="quarter" idx="12"/>
          </p:nvPr>
        </p:nvSpPr>
        <p:spPr>
          <a:xfrm>
            <a:off x="12777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45535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title, text (1/4), blank (3/4)">
    <p:bg>
      <p:bgPr>
        <a:solidFill>
          <a:srgbClr val="F4F4F4"/>
        </a:solidFill>
        <a:effectLst/>
      </p:bgPr>
    </p:bg>
    <p:spTree>
      <p:nvGrpSpPr>
        <p:cNvPr id="1" name=""/>
        <p:cNvGrpSpPr/>
        <p:nvPr/>
      </p:nvGrpSpPr>
      <p:grpSpPr>
        <a:xfrm>
          <a:off x="0" y="0"/>
          <a:ext cx="0" cy="0"/>
          <a:chOff x="0" y="0"/>
          <a:chExt cx="0" cy="0"/>
        </a:xfrm>
      </p:grpSpPr>
      <p:grpSp>
        <p:nvGrpSpPr>
          <p:cNvPr id="832" name="Group 58"/>
          <p:cNvGrpSpPr/>
          <p:nvPr/>
        </p:nvGrpSpPr>
        <p:grpSpPr>
          <a:xfrm>
            <a:off x="-292614" y="-292947"/>
            <a:ext cx="24971255" cy="14305281"/>
            <a:chOff x="0" y="0"/>
            <a:chExt cx="24971254" cy="14305280"/>
          </a:xfrm>
        </p:grpSpPr>
        <p:grpSp>
          <p:nvGrpSpPr>
            <p:cNvPr id="799" name="Group 59"/>
            <p:cNvGrpSpPr/>
            <p:nvPr/>
          </p:nvGrpSpPr>
          <p:grpSpPr>
            <a:xfrm>
              <a:off x="903906" y="-1"/>
              <a:ext cx="23164620" cy="243842"/>
              <a:chOff x="0" y="0"/>
              <a:chExt cx="23164618" cy="243840"/>
            </a:xfrm>
          </p:grpSpPr>
          <p:sp>
            <p:nvSpPr>
              <p:cNvPr id="78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8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11" name="Group 60"/>
            <p:cNvGrpSpPr/>
            <p:nvPr/>
          </p:nvGrpSpPr>
          <p:grpSpPr>
            <a:xfrm>
              <a:off x="903906" y="14061440"/>
              <a:ext cx="23164620" cy="243841"/>
              <a:chOff x="0" y="0"/>
              <a:chExt cx="23164618" cy="243840"/>
            </a:xfrm>
          </p:grpSpPr>
          <p:sp>
            <p:nvSpPr>
              <p:cNvPr id="80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21" name="Group 61"/>
            <p:cNvGrpSpPr/>
            <p:nvPr/>
          </p:nvGrpSpPr>
          <p:grpSpPr>
            <a:xfrm>
              <a:off x="-1" y="926930"/>
              <a:ext cx="243842" cy="12438551"/>
              <a:chOff x="0" y="0"/>
              <a:chExt cx="243840" cy="12438549"/>
            </a:xfrm>
          </p:grpSpPr>
          <p:sp>
            <p:nvSpPr>
              <p:cNvPr id="81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31" name="Group 62"/>
            <p:cNvGrpSpPr/>
            <p:nvPr/>
          </p:nvGrpSpPr>
          <p:grpSpPr>
            <a:xfrm>
              <a:off x="24727414" y="926930"/>
              <a:ext cx="243841" cy="12435842"/>
              <a:chOff x="0" y="0"/>
              <a:chExt cx="243840" cy="12435840"/>
            </a:xfrm>
          </p:grpSpPr>
          <p:sp>
            <p:nvSpPr>
              <p:cNvPr id="82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3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833"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834" name="Body Level One…"/>
          <p:cNvSpPr txBox="1">
            <a:spLocks noGrp="1"/>
          </p:cNvSpPr>
          <p:nvPr>
            <p:ph type="body" sz="quarter" idx="1"/>
          </p:nvPr>
        </p:nvSpPr>
        <p:spPr>
          <a:xfrm>
            <a:off x="585215" y="3341623"/>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875" name="Group"/>
          <p:cNvGrpSpPr/>
          <p:nvPr/>
        </p:nvGrpSpPr>
        <p:grpSpPr>
          <a:xfrm>
            <a:off x="-292614" y="-292947"/>
            <a:ext cx="24971255" cy="14305281"/>
            <a:chOff x="0" y="0"/>
            <a:chExt cx="24971254" cy="14305280"/>
          </a:xfrm>
        </p:grpSpPr>
        <p:sp>
          <p:nvSpPr>
            <p:cNvPr id="835"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6"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7"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8"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9"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0"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1"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2"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3"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4"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5"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6"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7"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8"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9"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0"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1"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2"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3"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4"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5"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6"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7"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8"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9"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0"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1"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2"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3"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4"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5"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6"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7"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8"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9"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0"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1"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2"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3"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4"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876"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877"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878"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6" name="Text Placeholder 1"/>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2"/>
          <p:cNvSpPr>
            <a:spLocks noGrp="1"/>
          </p:cNvSpPr>
          <p:nvPr>
            <p:ph type="body" sz="quarter" idx="13"/>
          </p:nvPr>
        </p:nvSpPr>
        <p:spPr>
          <a:xfrm>
            <a:off x="6681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12777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ext Placeholder 4"/>
          <p:cNvSpPr>
            <a:spLocks noGrp="1"/>
          </p:cNvSpPr>
          <p:nvPr>
            <p:ph type="body" sz="quarter" idx="15"/>
          </p:nvPr>
        </p:nvSpPr>
        <p:spPr>
          <a:xfrm>
            <a:off x="18873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249777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p:cNvSpPr>
            <a:spLocks noGrp="1"/>
          </p:cNvSpPr>
          <p:nvPr>
            <p:ph type="body" sz="quarter" idx="13"/>
          </p:nvPr>
        </p:nvSpPr>
        <p:spPr>
          <a:xfrm>
            <a:off x="585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12192000" y="1"/>
            <a:ext cx="12192000" cy="13716000"/>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075386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6" name="Text Placeholder 1"/>
          <p:cNvSpPr>
            <a:spLocks noGrp="1"/>
          </p:cNvSpPr>
          <p:nvPr>
            <p:ph type="body" sz="quarter" idx="12"/>
          </p:nvPr>
        </p:nvSpPr>
        <p:spPr>
          <a:xfrm>
            <a:off x="12777216" y="536449"/>
            <a:ext cx="4901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ext Placeholder 2"/>
          <p:cNvSpPr>
            <a:spLocks noGrp="1"/>
          </p:cNvSpPr>
          <p:nvPr>
            <p:ph type="body" sz="quarter" idx="13"/>
          </p:nvPr>
        </p:nvSpPr>
        <p:spPr>
          <a:xfrm>
            <a:off x="18873216" y="536449"/>
            <a:ext cx="4901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209981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5" y="536449"/>
            <a:ext cx="11045771" cy="11452352"/>
          </a:xfrm>
        </p:spPr>
        <p:txBody>
          <a:bodyPr/>
          <a:lstStyle>
            <a:lvl1pPr>
              <a:defRPr>
                <a:latin typeface="IBM Plex Sans" panose="020B0503050203000203" pitchFamily="34" charset="0"/>
              </a:defRPr>
            </a:lvl1pPr>
          </a:lstStyle>
          <a:p>
            <a:r>
              <a:rPr lang="en-GB"/>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12192000" y="1"/>
            <a:ext cx="12192000" cy="13716000"/>
          </a:xfrm>
          <a:prstGeom prst="rect">
            <a:avLst/>
          </a:prstGeom>
          <a:solidFill>
            <a:srgbClr val="F3F3F3"/>
          </a:solidFill>
        </p:spPr>
        <p:txBody>
          <a:bodyPr wrap="square" lIns="0" tIns="0" rIns="0" bIns="0" rtlCol="0" anchor="ctr">
            <a:noAutofit/>
          </a:bodyPr>
          <a:lstStyle/>
          <a:p>
            <a:pPr algn="ctr"/>
            <a:endParaRPr lang="en-US" sz="3197"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12777216" y="536449"/>
            <a:ext cx="10997184" cy="1145235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521059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7" name="Picture Placeholder"/>
          <p:cNvSpPr>
            <a:spLocks noGrp="1"/>
          </p:cNvSpPr>
          <p:nvPr>
            <p:ph type="pic" sz="quarter" idx="14"/>
          </p:nvPr>
        </p:nvSpPr>
        <p:spPr>
          <a:xfrm>
            <a:off x="12192000" y="1"/>
            <a:ext cx="12192000" cy="13716000"/>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164212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524154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231491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p:cNvSpPr>
            <a:spLocks noGrp="1"/>
          </p:cNvSpPr>
          <p:nvPr>
            <p:ph type="body" sz="quarter" idx="13"/>
          </p:nvPr>
        </p:nvSpPr>
        <p:spPr>
          <a:xfrm>
            <a:off x="585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9" name="Content Placeholder 1"/>
          <p:cNvSpPr>
            <a:spLocks noGrp="1"/>
          </p:cNvSpPr>
          <p:nvPr>
            <p:ph sz="quarter" idx="17"/>
          </p:nvPr>
        </p:nvSpPr>
        <p:spPr>
          <a:xfrm>
            <a:off x="12192000" y="0"/>
            <a:ext cx="6096000" cy="6858001"/>
          </a:xfrm>
          <a:solidFill>
            <a:schemeClr val="accent2"/>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0" name="Content Placeholder 2"/>
          <p:cNvSpPr>
            <a:spLocks noGrp="1"/>
          </p:cNvSpPr>
          <p:nvPr>
            <p:ph sz="quarter" idx="18"/>
          </p:nvPr>
        </p:nvSpPr>
        <p:spPr>
          <a:xfrm>
            <a:off x="18288000" y="0"/>
            <a:ext cx="6096000" cy="6858001"/>
          </a:xfrm>
          <a:solidFill>
            <a:srgbClr val="061F80"/>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2" name="Content Placeholder 3"/>
          <p:cNvSpPr>
            <a:spLocks noGrp="1"/>
          </p:cNvSpPr>
          <p:nvPr>
            <p:ph sz="quarter" idx="19"/>
          </p:nvPr>
        </p:nvSpPr>
        <p:spPr>
          <a:xfrm>
            <a:off x="12192000" y="6853771"/>
            <a:ext cx="12192000" cy="6862231"/>
          </a:xfrm>
          <a:solidFill>
            <a:srgbClr val="0530AD"/>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44413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3"/>
          </a:xfrm>
          <a:solidFill>
            <a:srgbClr val="0530AD"/>
          </a:solidFill>
        </p:spPr>
        <p:txBody>
          <a:bodyPr lIns="420624" tIns="411480" rIns="420624" bIns="420624"/>
          <a:lstStyle>
            <a:lvl1pPr>
              <a:defRPr>
                <a:solidFill>
                  <a:schemeClr val="bg1"/>
                </a:solidFill>
              </a:defRPr>
            </a:lvl1pPr>
          </a:lstStyle>
          <a:p>
            <a:r>
              <a:rPr lang="en-GB"/>
              <a:t>Click to edit Master title style</a:t>
            </a:r>
            <a:endParaRPr lang="en-US" dirty="0"/>
          </a:p>
        </p:txBody>
      </p:sp>
      <p:sp>
        <p:nvSpPr>
          <p:cNvPr id="6" name="Content Placeholder 1"/>
          <p:cNvSpPr>
            <a:spLocks noGrp="1"/>
          </p:cNvSpPr>
          <p:nvPr>
            <p:ph sz="quarter" idx="17"/>
          </p:nvPr>
        </p:nvSpPr>
        <p:spPr>
          <a:xfrm>
            <a:off x="12192000" y="0"/>
            <a:ext cx="6096000" cy="6858001"/>
          </a:xfrm>
          <a:solidFill>
            <a:schemeClr val="accent2"/>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1" name="Content Placeholder 2"/>
          <p:cNvSpPr>
            <a:spLocks noGrp="1"/>
          </p:cNvSpPr>
          <p:nvPr>
            <p:ph sz="quarter" idx="18"/>
          </p:nvPr>
        </p:nvSpPr>
        <p:spPr>
          <a:xfrm>
            <a:off x="18288000" y="0"/>
            <a:ext cx="6096000" cy="6858001"/>
          </a:xfrm>
          <a:solidFill>
            <a:srgbClr val="061F80"/>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7" name="Content Placeholder 3"/>
          <p:cNvSpPr>
            <a:spLocks noGrp="1"/>
          </p:cNvSpPr>
          <p:nvPr>
            <p:ph sz="quarter" idx="20"/>
          </p:nvPr>
        </p:nvSpPr>
        <p:spPr>
          <a:xfrm>
            <a:off x="0" y="6853771"/>
            <a:ext cx="12192000" cy="6862231"/>
          </a:xfrm>
          <a:solidFill>
            <a:schemeClr val="tx1"/>
          </a:solidFill>
        </p:spPr>
        <p:txBody>
          <a:bodyPr lIns="457200" tIns="384048" rIns="228600" bIns="228600"/>
          <a:lstStyle>
            <a:lvl1pPr>
              <a:defRPr>
                <a:solidFill>
                  <a:schemeClr val="bg1"/>
                </a:solidFill>
              </a:defRPr>
            </a:lvl1pPr>
          </a:lstStyle>
          <a:p>
            <a:pPr lvl="0"/>
            <a:r>
              <a:rPr lang="en-GB"/>
              <a:t>Click to edit Master text styles</a:t>
            </a:r>
          </a:p>
        </p:txBody>
      </p:sp>
      <p:sp>
        <p:nvSpPr>
          <p:cNvPr id="14" name="Content Placeholder 4"/>
          <p:cNvSpPr>
            <a:spLocks noGrp="1"/>
          </p:cNvSpPr>
          <p:nvPr>
            <p:ph sz="quarter" idx="19"/>
          </p:nvPr>
        </p:nvSpPr>
        <p:spPr>
          <a:xfrm>
            <a:off x="12192000" y="6853771"/>
            <a:ext cx="12192000" cy="6862231"/>
          </a:xfrm>
          <a:solidFill>
            <a:srgbClr val="0530AD"/>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601463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4000" cy="6851901"/>
          </a:xfrm>
          <a:noFill/>
        </p:spPr>
        <p:txBody>
          <a:bodyPr lIns="384048" tIns="310896" rIns="384048" bIns="228600"/>
          <a:lstStyle>
            <a:lvl1pPr>
              <a:defRPr sz="12788"/>
            </a:lvl1pPr>
          </a:lstStyle>
          <a:p>
            <a:r>
              <a:rPr lang="en-GB"/>
              <a:t>Click to edit Master title style</a:t>
            </a:r>
            <a:endParaRPr lang="en-US" dirty="0"/>
          </a:p>
        </p:txBody>
      </p:sp>
      <p:sp>
        <p:nvSpPr>
          <p:cNvPr id="7" name="Content Placeholder 1"/>
          <p:cNvSpPr>
            <a:spLocks noGrp="1"/>
          </p:cNvSpPr>
          <p:nvPr>
            <p:ph sz="quarter" idx="20"/>
          </p:nvPr>
        </p:nvSpPr>
        <p:spPr>
          <a:xfrm>
            <a:off x="0" y="6853771"/>
            <a:ext cx="6096000" cy="6862231"/>
          </a:xfrm>
          <a:solidFill>
            <a:srgbClr val="061F80"/>
          </a:solidFill>
        </p:spPr>
        <p:txBody>
          <a:bodyPr lIns="457200" tIns="384048" rIns="228600" bIns="228600"/>
          <a:lstStyle>
            <a:lvl1pPr>
              <a:defRPr>
                <a:solidFill>
                  <a:schemeClr val="bg1"/>
                </a:solidFill>
              </a:defRPr>
            </a:lvl1pPr>
          </a:lstStyle>
          <a:p>
            <a:pPr lvl="0"/>
            <a:r>
              <a:rPr lang="en-GB"/>
              <a:t>Click to edit Master text styles</a:t>
            </a:r>
          </a:p>
        </p:txBody>
      </p:sp>
      <p:sp>
        <p:nvSpPr>
          <p:cNvPr id="14" name="Content Placeholder 2"/>
          <p:cNvSpPr>
            <a:spLocks noGrp="1"/>
          </p:cNvSpPr>
          <p:nvPr>
            <p:ph sz="quarter" idx="19"/>
          </p:nvPr>
        </p:nvSpPr>
        <p:spPr>
          <a:xfrm>
            <a:off x="6096003" y="6853771"/>
            <a:ext cx="6096000" cy="6862231"/>
          </a:xfrm>
          <a:solidFill>
            <a:srgbClr val="054ADA"/>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6" name="Content Placeholder 3"/>
          <p:cNvSpPr>
            <a:spLocks noGrp="1"/>
          </p:cNvSpPr>
          <p:nvPr>
            <p:ph sz="quarter" idx="17"/>
          </p:nvPr>
        </p:nvSpPr>
        <p:spPr>
          <a:xfrm>
            <a:off x="12192000" y="6853767"/>
            <a:ext cx="6096000" cy="6862234"/>
          </a:xfrm>
          <a:solidFill>
            <a:schemeClr val="accent2"/>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1" name="Content Placeholder 4"/>
          <p:cNvSpPr>
            <a:spLocks noGrp="1"/>
          </p:cNvSpPr>
          <p:nvPr>
            <p:ph sz="quarter" idx="18"/>
          </p:nvPr>
        </p:nvSpPr>
        <p:spPr>
          <a:xfrm>
            <a:off x="18288000" y="6853767"/>
            <a:ext cx="6096000" cy="6862234"/>
          </a:xfrm>
          <a:solidFill>
            <a:srgbClr val="6EA6FF"/>
          </a:solidFill>
          <a:ln>
            <a:noFill/>
          </a:ln>
        </p:spPr>
        <p:txBody>
          <a:bodyPr lIns="457200" tIns="384048" rIns="228600" bIns="228600"/>
          <a:lstStyle>
            <a:lvl1pPr>
              <a:defRPr>
                <a:solidFill>
                  <a:schemeClr val="tx1"/>
                </a:solidFill>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945422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boxes (3 med, 2 small)">
    <p:bg>
      <p:bgPr>
        <a:solidFill>
          <a:srgbClr val="F4F4F4"/>
        </a:solidFill>
        <a:effectLst/>
      </p:bgPr>
    </p:bg>
    <p:spTree>
      <p:nvGrpSpPr>
        <p:cNvPr id="1" name=""/>
        <p:cNvGrpSpPr/>
        <p:nvPr/>
      </p:nvGrpSpPr>
      <p:grpSpPr>
        <a:xfrm>
          <a:off x="0" y="0"/>
          <a:ext cx="0" cy="0"/>
          <a:chOff x="0" y="0"/>
          <a:chExt cx="0" cy="0"/>
        </a:xfrm>
      </p:grpSpPr>
      <p:grpSp>
        <p:nvGrpSpPr>
          <p:cNvPr id="929" name="Group 58"/>
          <p:cNvGrpSpPr/>
          <p:nvPr/>
        </p:nvGrpSpPr>
        <p:grpSpPr>
          <a:xfrm>
            <a:off x="-292614" y="-292947"/>
            <a:ext cx="24971255" cy="14305281"/>
            <a:chOff x="0" y="0"/>
            <a:chExt cx="24971254" cy="14305280"/>
          </a:xfrm>
        </p:grpSpPr>
        <p:grpSp>
          <p:nvGrpSpPr>
            <p:cNvPr id="896" name="Group 59"/>
            <p:cNvGrpSpPr/>
            <p:nvPr/>
          </p:nvGrpSpPr>
          <p:grpSpPr>
            <a:xfrm>
              <a:off x="903906" y="-1"/>
              <a:ext cx="23164620" cy="243842"/>
              <a:chOff x="0" y="0"/>
              <a:chExt cx="23164618" cy="243840"/>
            </a:xfrm>
          </p:grpSpPr>
          <p:sp>
            <p:nvSpPr>
              <p:cNvPr id="885"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6"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7"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8"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9"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0"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1"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2"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3"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4"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5"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08" name="Group 60"/>
            <p:cNvGrpSpPr/>
            <p:nvPr/>
          </p:nvGrpSpPr>
          <p:grpSpPr>
            <a:xfrm>
              <a:off x="903906" y="14061440"/>
              <a:ext cx="23164620" cy="243841"/>
              <a:chOff x="0" y="0"/>
              <a:chExt cx="23164618" cy="243840"/>
            </a:xfrm>
          </p:grpSpPr>
          <p:sp>
            <p:nvSpPr>
              <p:cNvPr id="897"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8"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9"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0"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1"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2"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3"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4"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5"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6"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7"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18" name="Group 61"/>
            <p:cNvGrpSpPr/>
            <p:nvPr/>
          </p:nvGrpSpPr>
          <p:grpSpPr>
            <a:xfrm>
              <a:off x="-1" y="926930"/>
              <a:ext cx="243842" cy="12438551"/>
              <a:chOff x="0" y="0"/>
              <a:chExt cx="243840" cy="12438549"/>
            </a:xfrm>
          </p:grpSpPr>
          <p:sp>
            <p:nvSpPr>
              <p:cNvPr id="909"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0"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1"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2"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3"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4"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5"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6"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7"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28" name="Group 62"/>
            <p:cNvGrpSpPr/>
            <p:nvPr/>
          </p:nvGrpSpPr>
          <p:grpSpPr>
            <a:xfrm>
              <a:off x="24727414" y="926930"/>
              <a:ext cx="243841" cy="12435842"/>
              <a:chOff x="0" y="0"/>
              <a:chExt cx="243840" cy="12435840"/>
            </a:xfrm>
          </p:grpSpPr>
          <p:sp>
            <p:nvSpPr>
              <p:cNvPr id="919"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0"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1"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2"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3"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4"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5"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6"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7"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930" name="Title Text"/>
          <p:cNvSpPr txBox="1">
            <a:spLocks noGrp="1"/>
          </p:cNvSpPr>
          <p:nvPr>
            <p:ph type="title"/>
          </p:nvPr>
        </p:nvSpPr>
        <p:spPr>
          <a:xfrm>
            <a:off x="-1" y="-3"/>
            <a:ext cx="12192001" cy="6858004"/>
          </a:xfrm>
          <a:prstGeom prst="rect">
            <a:avLst/>
          </a:prstGeom>
          <a:solidFill>
            <a:srgbClr val="0530AD"/>
          </a:solidFill>
        </p:spPr>
        <p:txBody>
          <a:bodyPr lIns="508000" tIns="508000" rIns="508000" bIns="508000">
            <a:normAutofit/>
          </a:bodyPr>
          <a:lstStyle>
            <a:lvl1pPr marL="101600" defTabSz="2438400">
              <a:defRPr b="0">
                <a:solidFill>
                  <a:srgbClr val="FFFFFF"/>
                </a:solidFill>
                <a:latin typeface="Arial"/>
                <a:ea typeface="Arial"/>
                <a:cs typeface="Arial"/>
                <a:sym typeface="Arial"/>
              </a:defRPr>
            </a:lvl1pPr>
          </a:lstStyle>
          <a:p>
            <a:r>
              <a:t>Title Text</a:t>
            </a:r>
          </a:p>
        </p:txBody>
      </p:sp>
      <p:sp>
        <p:nvSpPr>
          <p:cNvPr id="931" name="Body Level One…"/>
          <p:cNvSpPr txBox="1">
            <a:spLocks noGrp="1"/>
          </p:cNvSpPr>
          <p:nvPr>
            <p:ph type="body" sz="quarter" idx="1"/>
          </p:nvPr>
        </p:nvSpPr>
        <p:spPr>
          <a:xfrm>
            <a:off x="12192000" y="-1"/>
            <a:ext cx="6096000" cy="6858001"/>
          </a:xfrm>
          <a:prstGeom prst="rect">
            <a:avLst/>
          </a:prstGeom>
          <a:solidFill>
            <a:srgbClr val="0F62FE"/>
          </a:solidFill>
        </p:spPr>
        <p:txBody>
          <a:bodyPr lIns="558800" tIns="558800" rIns="558800" bIns="558800"/>
          <a:lstStyle>
            <a:lvl1pPr marL="50800" defTabSz="2438400">
              <a:lnSpc>
                <a:spcPct val="100000"/>
              </a:lnSpc>
              <a:spcBef>
                <a:spcPts val="2900"/>
              </a:spcBef>
              <a:defRPr sz="3600">
                <a:solidFill>
                  <a:srgbClr val="FFFFFF"/>
                </a:solidFill>
                <a:latin typeface="Arial"/>
                <a:ea typeface="Arial"/>
                <a:cs typeface="Arial"/>
                <a:sym typeface="Arial"/>
              </a:defRPr>
            </a:lvl1pPr>
            <a:lvl2pPr marL="495265" indent="-446749" defTabSz="2438400">
              <a:lnSpc>
                <a:spcPct val="100000"/>
              </a:lnSpc>
              <a:spcBef>
                <a:spcPts val="2900"/>
              </a:spcBef>
              <a:buChar char="–"/>
              <a:defRPr sz="3600">
                <a:solidFill>
                  <a:srgbClr val="FFFFFF"/>
                </a:solidFill>
                <a:latin typeface="Arial"/>
                <a:ea typeface="Arial"/>
                <a:cs typeface="Arial"/>
                <a:sym typeface="Arial"/>
              </a:defRPr>
            </a:lvl2pPr>
            <a:lvl3pPr marL="666718" indent="-446749" defTabSz="2438400">
              <a:lnSpc>
                <a:spcPct val="100000"/>
              </a:lnSpc>
              <a:spcBef>
                <a:spcPts val="2900"/>
              </a:spcBef>
              <a:defRPr sz="3600">
                <a:solidFill>
                  <a:srgbClr val="FFFFFF"/>
                </a:solidFill>
                <a:latin typeface="Arial"/>
                <a:ea typeface="Arial"/>
                <a:cs typeface="Arial"/>
                <a:sym typeface="Arial"/>
              </a:defRPr>
            </a:lvl3pPr>
            <a:lvl4pPr marL="952471" indent="-446749" defTabSz="2438400">
              <a:lnSpc>
                <a:spcPct val="100000"/>
              </a:lnSpc>
              <a:spcBef>
                <a:spcPts val="2900"/>
              </a:spcBef>
              <a:buChar char="–"/>
              <a:defRPr sz="3600">
                <a:solidFill>
                  <a:srgbClr val="FFFFFF"/>
                </a:solidFill>
                <a:latin typeface="Arial"/>
                <a:ea typeface="Arial"/>
                <a:cs typeface="Arial"/>
                <a:sym typeface="Arial"/>
              </a:defRPr>
            </a:lvl4pPr>
            <a:lvl5pPr marL="1127098" indent="-446749" defTabSz="2438400">
              <a:lnSpc>
                <a:spcPct val="100000"/>
              </a:lnSpc>
              <a:spcBef>
                <a:spcPts val="2900"/>
              </a:spcBef>
              <a:buChar char="»"/>
              <a:defRPr sz="36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972" name="Group"/>
          <p:cNvGrpSpPr/>
          <p:nvPr/>
        </p:nvGrpSpPr>
        <p:grpSpPr>
          <a:xfrm>
            <a:off x="-292614" y="-292947"/>
            <a:ext cx="24971255" cy="14305281"/>
            <a:chOff x="0" y="0"/>
            <a:chExt cx="24971254" cy="14305280"/>
          </a:xfrm>
        </p:grpSpPr>
        <p:sp>
          <p:nvSpPr>
            <p:cNvPr id="932"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3"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4"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5"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6"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7"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8"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9"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0"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1"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2"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3"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4"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5"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6"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7"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8"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9"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0"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1"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2"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3"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4"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5"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6"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7"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8"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9"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0"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1"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2"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3"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4"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5"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6"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7"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8"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9"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0"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1"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973"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974"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75"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1"/>
          </a:xfrm>
          <a:solidFill>
            <a:schemeClr val="tx1"/>
          </a:solidFill>
        </p:spPr>
        <p:txBody>
          <a:bodyPr lIns="420624" tIns="411480" rIns="420624" bIns="420624"/>
          <a:lstStyle>
            <a:lvl1pPr>
              <a:defRPr>
                <a:solidFill>
                  <a:schemeClr val="bg1"/>
                </a:solidFill>
              </a:defRPr>
            </a:lvl1pPr>
          </a:lstStyle>
          <a:p>
            <a:r>
              <a:rPr lang="en-GB"/>
              <a:t>Click to edit Master title style</a:t>
            </a:r>
            <a:endParaRPr lang="en-US" dirty="0"/>
          </a:p>
        </p:txBody>
      </p:sp>
      <p:sp>
        <p:nvSpPr>
          <p:cNvPr id="6" name="Picture Placeholder"/>
          <p:cNvSpPr>
            <a:spLocks noGrp="1"/>
          </p:cNvSpPr>
          <p:nvPr>
            <p:ph type="pic" sz="quarter" idx="12"/>
          </p:nvPr>
        </p:nvSpPr>
        <p:spPr>
          <a:xfrm>
            <a:off x="0" y="3403601"/>
            <a:ext cx="24384000" cy="10312399"/>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113674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1"/>
            <a:ext cx="24384000" cy="13728191"/>
          </a:xfrm>
        </p:spPr>
        <p:txBody>
          <a:bodyPr lIns="91440" tIns="91440" rIns="91440" bIns="91440"/>
          <a:lstStyle/>
          <a:p>
            <a:r>
              <a:rPr lang="en-GB"/>
              <a:t>Click icon to add picture</a:t>
            </a:r>
            <a:endParaRPr lang="en-US" dirty="0"/>
          </a:p>
        </p:txBody>
      </p:sp>
      <p:sp>
        <p:nvSpPr>
          <p:cNvPr id="6" name="Text Placeholder"/>
          <p:cNvSpPr>
            <a:spLocks noGrp="1"/>
          </p:cNvSpPr>
          <p:nvPr>
            <p:ph type="body" sz="quarter" idx="12"/>
          </p:nvPr>
        </p:nvSpPr>
        <p:spPr>
          <a:xfrm>
            <a:off x="-7" y="6858000"/>
            <a:ext cx="6096008" cy="6858001"/>
          </a:xfrm>
          <a:solidFill>
            <a:schemeClr val="tx1"/>
          </a:solidFill>
        </p:spPr>
        <p:txBody>
          <a:bodyPr lIns="457200" tIns="384048" rIns="457200" bIns="228600"/>
          <a:lstStyle>
            <a:lvl1pPr>
              <a:buClr>
                <a:schemeClr val="bg1"/>
              </a:buClr>
              <a:defRPr>
                <a:solidFill>
                  <a:schemeClr val="bg1"/>
                </a:solidFill>
              </a:defRPr>
            </a:lvl1pPr>
            <a:lvl2pPr>
              <a:buClr>
                <a:schemeClr val="bg1"/>
              </a:buClr>
              <a:defRPr sz="2664">
                <a:solidFill>
                  <a:schemeClr val="bg1"/>
                </a:solidFill>
              </a:defRPr>
            </a:lvl2pPr>
            <a:lvl3pPr>
              <a:buClr>
                <a:schemeClr val="bg1"/>
              </a:buClr>
              <a:defRPr sz="2664">
                <a:solidFill>
                  <a:schemeClr val="bg1"/>
                </a:solidFill>
              </a:defRPr>
            </a:lvl3pPr>
            <a:lvl4pPr>
              <a:buClr>
                <a:schemeClr val="bg1"/>
              </a:buClr>
              <a:defRPr sz="2664">
                <a:solidFill>
                  <a:schemeClr val="bg1"/>
                </a:solidFill>
              </a:defRPr>
            </a:lvl4pPr>
            <a:lvl5pPr>
              <a:buClr>
                <a:schemeClr val="bg1"/>
              </a:buClr>
              <a:defRPr sz="2664">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609777" y="537636"/>
            <a:ext cx="11049000" cy="11451165"/>
          </a:xfrm>
        </p:spPr>
        <p:txBody>
          <a:bodyPr/>
          <a:lstStyle/>
          <a:p>
            <a:r>
              <a:rPr lang="en-GB"/>
              <a:t>Click to edit Master title style</a:t>
            </a:r>
            <a:endParaRPr lang="en-US" dirty="0"/>
          </a:p>
        </p:txBody>
      </p:sp>
    </p:spTree>
    <p:extLst>
      <p:ext uri="{BB962C8B-B14F-4D97-AF65-F5344CB8AC3E}">
        <p14:creationId xmlns:p14="http://schemas.microsoft.com/office/powerpoint/2010/main" val="15949683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1"/>
            <a:ext cx="6096000" cy="13728191"/>
          </a:xfrm>
          <a:solidFill>
            <a:srgbClr val="061F80"/>
          </a:solidFill>
        </p:spPr>
        <p:txBody>
          <a:bodyPr lIns="457200" tIns="384048" rIns="4572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4" name="Content Placeholder 2"/>
          <p:cNvSpPr>
            <a:spLocks noGrp="1"/>
          </p:cNvSpPr>
          <p:nvPr>
            <p:ph sz="quarter" idx="13"/>
          </p:nvPr>
        </p:nvSpPr>
        <p:spPr>
          <a:xfrm>
            <a:off x="6096000" y="1"/>
            <a:ext cx="6096000" cy="13728191"/>
          </a:xfrm>
          <a:solidFill>
            <a:srgbClr val="054ADA"/>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6" name="Content Placeholder 3"/>
          <p:cNvSpPr>
            <a:spLocks noGrp="1"/>
          </p:cNvSpPr>
          <p:nvPr>
            <p:ph sz="quarter" idx="14"/>
          </p:nvPr>
        </p:nvSpPr>
        <p:spPr>
          <a:xfrm>
            <a:off x="12192000" y="1"/>
            <a:ext cx="6096000" cy="13728191"/>
          </a:xfrm>
          <a:solidFill>
            <a:schemeClr val="accent2"/>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8" name="Content Placeholder 4"/>
          <p:cNvSpPr>
            <a:spLocks noGrp="1"/>
          </p:cNvSpPr>
          <p:nvPr>
            <p:ph sz="quarter" idx="15"/>
          </p:nvPr>
        </p:nvSpPr>
        <p:spPr>
          <a:xfrm>
            <a:off x="18288000" y="1"/>
            <a:ext cx="6096000" cy="13728191"/>
          </a:xfrm>
          <a:solidFill>
            <a:srgbClr val="6EA6FF"/>
          </a:solidFill>
        </p:spPr>
        <p:txBody>
          <a:bodyPr lIns="457200" tIns="384048" rIns="4572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May 2021/ © 2021 IBM Corporation</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964275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6" name="Text Placeholder"/>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Content Placeholder"/>
          <p:cNvSpPr>
            <a:spLocks noGrp="1"/>
          </p:cNvSpPr>
          <p:nvPr>
            <p:ph sz="quarter" idx="13"/>
          </p:nvPr>
        </p:nvSpPr>
        <p:spPr>
          <a:xfrm>
            <a:off x="6705600" y="3316225"/>
            <a:ext cx="17068800"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298822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a:p>
        </p:txBody>
      </p:sp>
      <p:sp>
        <p:nvSpPr>
          <p:cNvPr id="6" name="Text Placeholder"/>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385650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1"/>
          <p:cNvSpPr>
            <a:spLocks noGrp="1"/>
          </p:cNvSpPr>
          <p:nvPr>
            <p:ph type="body" sz="quarter" idx="13"/>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5"/>
          </p:nvPr>
        </p:nvSpPr>
        <p:spPr>
          <a:xfrm>
            <a:off x="6681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12192000" y="1"/>
            <a:ext cx="12192000" cy="13716000"/>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745155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a:p>
        </p:txBody>
      </p:sp>
      <p:sp>
        <p:nvSpPr>
          <p:cNvPr id="6" name="Text Placeholder 1"/>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 2"/>
          <p:cNvSpPr>
            <a:spLocks noGrp="1"/>
          </p:cNvSpPr>
          <p:nvPr>
            <p:ph type="body" sz="quarter" idx="13"/>
          </p:nvPr>
        </p:nvSpPr>
        <p:spPr>
          <a:xfrm>
            <a:off x="6681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12728448" y="3243073"/>
            <a:ext cx="11045952" cy="8745727"/>
          </a:xfrm>
        </p:spPr>
        <p:txBody>
          <a:bodyPr/>
          <a:lstStyle>
            <a:lvl1pPr>
              <a:defRPr sz="6394"/>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72132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9"/>
            <a:ext cx="4901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able Placeholder"/>
          <p:cNvSpPr>
            <a:spLocks noGrp="1"/>
          </p:cNvSpPr>
          <p:nvPr>
            <p:ph type="tbl" sz="quarter" idx="13"/>
          </p:nvPr>
        </p:nvSpPr>
        <p:spPr>
          <a:xfrm>
            <a:off x="6681218" y="536449"/>
            <a:ext cx="17093003" cy="11452352"/>
          </a:xfrm>
        </p:spPr>
        <p:txBody>
          <a:bodyPr lIns="0" tIns="0" rIns="91440" bIns="91440"/>
          <a:lstStyle/>
          <a:p>
            <a:r>
              <a:rPr lang="en-GB"/>
              <a:t>Click icon to add tabl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234496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488334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62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957892" y="12598399"/>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1" y="372533"/>
            <a:ext cx="11045953" cy="2145793"/>
          </a:xfrm>
          <a:prstGeom prst="rect">
            <a:avLst/>
          </a:prstGeom>
        </p:spPr>
        <p:txBody>
          <a:bodyPr/>
          <a:lstStyle>
            <a:lvl1pPr defTabSz="2438400">
              <a:lnSpc>
                <a:spcPct val="90000"/>
              </a:lnSpc>
              <a:spcBef>
                <a:spcPts val="0"/>
              </a:spcBef>
              <a:defRPr sz="6400"/>
            </a:lvl1pPr>
          </a:lstStyle>
          <a:p>
            <a:r>
              <a:t>Title Text</a:t>
            </a:r>
          </a:p>
        </p:txBody>
      </p:sp>
      <p:grpSp>
        <p:nvGrpSpPr>
          <p:cNvPr id="509" name="Group 59"/>
          <p:cNvGrpSpPr/>
          <p:nvPr/>
        </p:nvGrpSpPr>
        <p:grpSpPr>
          <a:xfrm>
            <a:off x="623992" y="-318348"/>
            <a:ext cx="23164620" cy="243841"/>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21" name="Group 60"/>
          <p:cNvGrpSpPr/>
          <p:nvPr/>
        </p:nvGrpSpPr>
        <p:grpSpPr>
          <a:xfrm>
            <a:off x="611292" y="13768494"/>
            <a:ext cx="23164620" cy="243841"/>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31" name="Group 61"/>
          <p:cNvGrpSpPr/>
          <p:nvPr/>
        </p:nvGrpSpPr>
        <p:grpSpPr>
          <a:xfrm>
            <a:off x="-419615" y="633983"/>
            <a:ext cx="243841" cy="12438551"/>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41" name="Group 62"/>
          <p:cNvGrpSpPr/>
          <p:nvPr/>
        </p:nvGrpSpPr>
        <p:grpSpPr>
          <a:xfrm>
            <a:off x="24434800" y="633983"/>
            <a:ext cx="243841" cy="12435842"/>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542" name="Straight Connector 92"/>
          <p:cNvSpPr/>
          <p:nvPr/>
        </p:nvSpPr>
        <p:spPr>
          <a:xfrm flipV="1">
            <a:off x="611292"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3" name="Straight Connector 93"/>
          <p:cNvSpPr/>
          <p:nvPr/>
        </p:nvSpPr>
        <p:spPr>
          <a:xfrm flipV="1">
            <a:off x="54880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4" name="Straight Connector 94"/>
          <p:cNvSpPr/>
          <p:nvPr/>
        </p:nvSpPr>
        <p:spPr>
          <a:xfrm flipV="1">
            <a:off x="61103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5" name="Straight Connector 95"/>
          <p:cNvSpPr/>
          <p:nvPr/>
        </p:nvSpPr>
        <p:spPr>
          <a:xfrm flipV="1">
            <a:off x="6707293"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6" name="Straight Connector 96"/>
          <p:cNvSpPr/>
          <p:nvPr/>
        </p:nvSpPr>
        <p:spPr>
          <a:xfrm flipV="1">
            <a:off x="11584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7" name="Straight Connector 97"/>
          <p:cNvSpPr/>
          <p:nvPr/>
        </p:nvSpPr>
        <p:spPr>
          <a:xfrm flipV="1">
            <a:off x="121936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8" name="Straight Connector 98"/>
          <p:cNvSpPr/>
          <p:nvPr/>
        </p:nvSpPr>
        <p:spPr>
          <a:xfrm flipV="1">
            <a:off x="128032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9" name="Straight Connector 99"/>
          <p:cNvSpPr/>
          <p:nvPr/>
        </p:nvSpPr>
        <p:spPr>
          <a:xfrm flipV="1">
            <a:off x="17680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0" name="Straight Connector 100"/>
          <p:cNvSpPr/>
          <p:nvPr/>
        </p:nvSpPr>
        <p:spPr>
          <a:xfrm flipV="1">
            <a:off x="182896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1" name="Straight Connector 101"/>
          <p:cNvSpPr/>
          <p:nvPr/>
        </p:nvSpPr>
        <p:spPr>
          <a:xfrm flipV="1">
            <a:off x="188992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2" name="Straight Connector 102"/>
          <p:cNvSpPr/>
          <p:nvPr/>
        </p:nvSpPr>
        <p:spPr>
          <a:xfrm flipV="1">
            <a:off x="23775911"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3"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4"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5"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6"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7"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8"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9"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0"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1"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2"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3"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4" name="Straight Connector 72"/>
          <p:cNvSpPr/>
          <p:nvPr/>
        </p:nvSpPr>
        <p:spPr>
          <a:xfrm flipH="1">
            <a:off x="-419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5" name="Straight Connector 73"/>
          <p:cNvSpPr/>
          <p:nvPr/>
        </p:nvSpPr>
        <p:spPr>
          <a:xfrm flipH="1">
            <a:off x="-419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6" name="Straight Connector 74"/>
          <p:cNvSpPr/>
          <p:nvPr/>
        </p:nvSpPr>
        <p:spPr>
          <a:xfrm flipH="1">
            <a:off x="-419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7" name="Straight Connector 75"/>
          <p:cNvSpPr/>
          <p:nvPr/>
        </p:nvSpPr>
        <p:spPr>
          <a:xfrm flipH="1">
            <a:off x="-419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8" name="Straight Connector 76"/>
          <p:cNvSpPr/>
          <p:nvPr/>
        </p:nvSpPr>
        <p:spPr>
          <a:xfrm flipH="1">
            <a:off x="-419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9" name="Straight Connector 77"/>
          <p:cNvSpPr/>
          <p:nvPr/>
        </p:nvSpPr>
        <p:spPr>
          <a:xfrm flipH="1">
            <a:off x="-419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0" name="Straight Connector 78"/>
          <p:cNvSpPr/>
          <p:nvPr/>
        </p:nvSpPr>
        <p:spPr>
          <a:xfrm flipH="1">
            <a:off x="-419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1" name="Straight Connector 79"/>
          <p:cNvSpPr/>
          <p:nvPr/>
        </p:nvSpPr>
        <p:spPr>
          <a:xfrm flipH="1">
            <a:off x="-419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2" name="Straight Connector 80"/>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3"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4"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5"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6"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7"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8"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9"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0"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1"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582"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583"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1202978659"/>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21568" cy="2145792"/>
          </a:xfrm>
        </p:spPr>
        <p:txBody>
          <a:bodyPr/>
          <a:lstStyle/>
          <a:p>
            <a:r>
              <a:rPr lang="en-GB"/>
              <a:t>Click to edit Master title style</a:t>
            </a:r>
            <a:endParaRPr lang="en-US" dirty="0"/>
          </a:p>
        </p:txBody>
      </p:sp>
      <p:sp>
        <p:nvSpPr>
          <p:cNvPr id="8" name="Text Placeholder 1"/>
          <p:cNvSpPr>
            <a:spLocks noGrp="1"/>
          </p:cNvSpPr>
          <p:nvPr>
            <p:ph type="body" sz="quarter" idx="13"/>
          </p:nvPr>
        </p:nvSpPr>
        <p:spPr>
          <a:xfrm>
            <a:off x="585216" y="3364996"/>
            <a:ext cx="10997184" cy="3493006"/>
          </a:xfrm>
        </p:spPr>
        <p:txBody>
          <a:bodyPr/>
          <a:lstStyle>
            <a:lvl1pPr>
              <a:spcBef>
                <a:spcPts val="0"/>
              </a:spcBef>
              <a:defRPr sz="2664"/>
            </a:lvl1pPr>
            <a:lvl2pPr marL="0" indent="0">
              <a:spcBef>
                <a:spcPts val="0"/>
              </a:spcBef>
              <a:buNone/>
              <a:defRPr/>
            </a:lvl2pPr>
            <a:lvl3pPr marL="537143" indent="0">
              <a:buNone/>
              <a:defRPr/>
            </a:lvl3pPr>
            <a:lvl4pPr marL="1158876" indent="0">
              <a:buNone/>
              <a:defRPr/>
            </a:lvl4pPr>
            <a:lvl5pPr marL="1683329" indent="0">
              <a:buNone/>
              <a:defRPr/>
            </a:lvl5pPr>
          </a:lstStyle>
          <a:p>
            <a:pPr lvl="0"/>
            <a:r>
              <a:rPr lang="en-GB"/>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596423" y="8548525"/>
            <a:ext cx="17081981" cy="3493003"/>
          </a:xfrm>
        </p:spPr>
        <p:txBody>
          <a:bodyPr anchor="b"/>
          <a:lstStyle>
            <a:lvl1pPr>
              <a:spcBef>
                <a:spcPts val="799"/>
              </a:spcBef>
              <a:defRPr sz="1599"/>
            </a:lvl1pPr>
            <a:lvl2pPr>
              <a:defRPr sz="1599"/>
            </a:lvl2pPr>
            <a:lvl3pPr>
              <a:defRPr sz="1599"/>
            </a:lvl3pPr>
            <a:lvl4pPr>
              <a:defRPr sz="1599"/>
            </a:lvl4pPr>
            <a:lvl5pPr>
              <a:defRPr sz="1599"/>
            </a:lvl5pPr>
          </a:lstStyle>
          <a:p>
            <a:pPr lvl="0"/>
            <a:r>
              <a:rPr lang="en-GB"/>
              <a:t>Click to edit Master text styles</a:t>
            </a:r>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78691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Picture 5" descr="A picture containing drawing, clock, light&#10;&#10;Description automatically generated">
            <a:extLst>
              <a:ext uri="{FF2B5EF4-FFF2-40B4-BE49-F238E27FC236}">
                <a16:creationId xmlns:a16="http://schemas.microsoft.com/office/drawing/2014/main" id="{FF27B6FA-45A0-F044-A79C-A406455EC8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905" y="5662502"/>
            <a:ext cx="6139544" cy="1425476"/>
          </a:xfrm>
          <a:prstGeom prst="rect">
            <a:avLst/>
          </a:prstGeom>
        </p:spPr>
      </p:pic>
    </p:spTree>
    <p:extLst>
      <p:ext uri="{BB962C8B-B14F-4D97-AF65-F5344CB8AC3E}">
        <p14:creationId xmlns:p14="http://schemas.microsoft.com/office/powerpoint/2010/main" val="20728163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ibm sign-off">
    <p:bg>
      <p:bgPr>
        <a:gradFill>
          <a:gsLst>
            <a:gs pos="16000">
              <a:srgbClr val="00E1DF"/>
            </a:gs>
            <a:gs pos="100000">
              <a:srgbClr val="0062FF"/>
            </a:gs>
          </a:gsLst>
          <a:lin ang="7200000" scaled="0"/>
        </a:gradFill>
        <a:effectLst/>
      </p:bgPr>
    </p:bg>
    <p:spTree>
      <p:nvGrpSpPr>
        <p:cNvPr id="1" name=""/>
        <p:cNvGrpSpPr/>
        <p:nvPr/>
      </p:nvGrpSpPr>
      <p:grpSpPr>
        <a:xfrm>
          <a:off x="0" y="0"/>
          <a:ext cx="0" cy="0"/>
          <a:chOff x="0" y="0"/>
          <a:chExt cx="0" cy="0"/>
        </a:xfrm>
      </p:grpSpPr>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Footer Placeholder">
            <a:extLst>
              <a:ext uri="{FF2B5EF4-FFF2-40B4-BE49-F238E27FC236}">
                <a16:creationId xmlns:a16="http://schemas.microsoft.com/office/drawing/2014/main" id="{BB73A6D8-3C53-C845-905B-58CA02AD7461}"/>
              </a:ext>
            </a:extLst>
          </p:cNvPr>
          <p:cNvSpPr>
            <a:spLocks noGrp="1"/>
          </p:cNvSpPr>
          <p:nvPr>
            <p:ph type="ftr" sz="quarter" idx="10"/>
          </p:nvPr>
        </p:nvSpPr>
        <p:spPr>
          <a:xfrm>
            <a:off x="609777" y="12767735"/>
            <a:ext cx="10972627" cy="444499"/>
          </a:xfrm>
        </p:spPr>
        <p:txBody>
          <a:bodyPr/>
          <a:lstStyle/>
          <a:p>
            <a:r>
              <a:rPr lang="en-US"/>
              <a:t>IBM Cloud / May 2021/ © 2021 IBM Corporation</a:t>
            </a:r>
            <a:endParaRPr lang="en-US" dirty="0"/>
          </a:p>
        </p:txBody>
      </p:sp>
      <p:pic>
        <p:nvPicPr>
          <p:cNvPr id="7" name="Picture 6" descr="A close up of a sign&#10;&#10;Description automatically generated">
            <a:extLst>
              <a:ext uri="{FF2B5EF4-FFF2-40B4-BE49-F238E27FC236}">
                <a16:creationId xmlns:a16="http://schemas.microsoft.com/office/drawing/2014/main" id="{30EB2A61-F457-014D-B4A9-1ADC6EC922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3019" y="4613144"/>
            <a:ext cx="3197963" cy="2830554"/>
          </a:xfrm>
          <a:prstGeom prst="rect">
            <a:avLst/>
          </a:prstGeom>
        </p:spPr>
      </p:pic>
    </p:spTree>
    <p:extLst>
      <p:ext uri="{BB962C8B-B14F-4D97-AF65-F5344CB8AC3E}">
        <p14:creationId xmlns:p14="http://schemas.microsoft.com/office/powerpoint/2010/main" val="7973326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b="0" i="0">
                <a:solidFill>
                  <a:schemeClr val="bg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2383500" y="12514875"/>
            <a:ext cx="1390904" cy="551442"/>
          </a:xfrm>
          <a:prstGeom prst="rect">
            <a:avLst/>
          </a:prstGeom>
        </p:spPr>
      </p:pic>
    </p:spTree>
    <p:extLst>
      <p:ext uri="{BB962C8B-B14F-4D97-AF65-F5344CB8AC3E}">
        <p14:creationId xmlns:p14="http://schemas.microsoft.com/office/powerpoint/2010/main" val="5188970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63521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585216" y="3316224"/>
            <a:ext cx="10997184" cy="8672576"/>
          </a:xfrm>
        </p:spPr>
        <p:txBody>
          <a:bodyPr/>
          <a:lstStyle>
            <a:lvl1pPr>
              <a:spcBef>
                <a:spcPts val="0"/>
              </a:spcBef>
              <a:defRPr b="0" i="0"/>
            </a:lvl1pPr>
            <a:lvl2pPr marL="0" indent="0">
              <a:spcBef>
                <a:spcPts val="0"/>
              </a:spcBef>
              <a:buNone/>
              <a:defRPr b="0" i="0"/>
            </a:lvl2pPr>
            <a:lvl3pPr marL="0" indent="0">
              <a:spcBef>
                <a:spcPts val="0"/>
              </a:spcBef>
              <a:buNone/>
              <a:tabLst/>
              <a:defRPr b="0" i="0"/>
            </a:lvl3pPr>
            <a:lvl4pPr marL="0" indent="0">
              <a:spcBef>
                <a:spcPts val="0"/>
              </a:spcBef>
              <a:buNone/>
              <a:tabLst/>
              <a:defRPr b="0" i="0"/>
            </a:lvl4pPr>
            <a:lvl5pPr marL="0" indent="0">
              <a:spcBef>
                <a:spcPts val="0"/>
              </a:spcBef>
              <a:buNone/>
              <a:tabLst/>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7216" y="3316224"/>
            <a:ext cx="10997184" cy="8672576"/>
          </a:xfrm>
        </p:spPr>
        <p:txBody>
          <a:bodyPr/>
          <a:lstStyle>
            <a:lvl1pPr>
              <a:spcBef>
                <a:spcPts val="0"/>
              </a:spcBef>
              <a:defRPr b="0" i="0"/>
            </a:lvl1pPr>
            <a:lvl2pPr marL="0" indent="0">
              <a:spcBef>
                <a:spcPts val="0"/>
              </a:spcBef>
              <a:buNone/>
              <a:defRPr b="0" i="0"/>
            </a:lvl2pPr>
            <a:lvl3pPr marL="0" indent="0">
              <a:spcBef>
                <a:spcPts val="0"/>
              </a:spcBef>
              <a:buNone/>
              <a:tabLst/>
              <a:defRPr b="0" i="0"/>
            </a:lvl3pPr>
            <a:lvl4pPr marL="0" indent="0">
              <a:spcBef>
                <a:spcPts val="0"/>
              </a:spcBef>
              <a:buNone/>
              <a:tabLst/>
              <a:defRPr b="0" i="0"/>
            </a:lvl4pPr>
            <a:lvl5pPr marL="0" indent="0">
              <a:spcBef>
                <a:spcPts val="0"/>
              </a:spcBef>
              <a:buNone/>
              <a:tabLst/>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877846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b="0" i="0"/>
            </a:lvl1pPr>
          </a:lstStyle>
          <a:p>
            <a:r>
              <a:rPr lang="en-US" dirty="0"/>
              <a:t>Click to edit Master title style</a:t>
            </a:r>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0" i="0">
                <a:latin typeface="IBM Plex Sans" panose="020B05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03410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b="0" i="0"/>
            </a:lvl1pPr>
          </a:lstStyle>
          <a:p>
            <a:r>
              <a:rPr lang="en-US" dirty="0"/>
              <a:t>Click to edit Master title style</a:t>
            </a:r>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0" i="0">
                <a:latin typeface="IBM Plex Sans" panose="020B0503050203000203" pitchFamily="34" charset="0"/>
              </a:defRPr>
            </a:lvl1pPr>
          </a:lstStyle>
          <a:p>
            <a:pPr lvl="0"/>
            <a:r>
              <a:rPr lang="en-US" dirty="0"/>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12192000" y="0"/>
            <a:ext cx="12192000" cy="13716000"/>
          </a:xfrm>
        </p:spPr>
        <p:txBody>
          <a:bodyPr lIns="91440" tIns="91440" rIns="91440" bIns="91440"/>
          <a:lstStyle>
            <a:lvl1pPr>
              <a:defRPr b="0" i="0" baseline="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856369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5" y="243840"/>
            <a:ext cx="23408458" cy="11744960"/>
          </a:xfrm>
        </p:spPr>
        <p:txBody>
          <a:bodyPr/>
          <a:lstStyle>
            <a:lvl1pPr>
              <a:defRPr sz="25600" b="0" i="0">
                <a:latin typeface="IBM Plex Sans" panose="020B05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b="0" i="0">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b="0" i="0">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284749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4833426" cy="11452352"/>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09125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383497" y="12508654"/>
            <a:ext cx="1390904" cy="563881"/>
          </a:xfrm>
          <a:prstGeom prst="rect">
            <a:avLst/>
          </a:prstGeom>
        </p:spPr>
      </p:pic>
    </p:spTree>
    <p:extLst>
      <p:ext uri="{BB962C8B-B14F-4D97-AF65-F5344CB8AC3E}">
        <p14:creationId xmlns:p14="http://schemas.microsoft.com/office/powerpoint/2010/main" val="24439071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12777216" y="536448"/>
            <a:ext cx="10997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014954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585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p:cNvSpPr>
            <a:spLocks noGrp="1"/>
          </p:cNvSpPr>
          <p:nvPr>
            <p:ph type="body" sz="quarter" idx="12"/>
          </p:nvPr>
        </p:nvSpPr>
        <p:spPr>
          <a:xfrm>
            <a:off x="12777221" y="3316224"/>
            <a:ext cx="10997002"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575753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7" name="Content Placeholder"/>
          <p:cNvSpPr>
            <a:spLocks noGrp="1"/>
          </p:cNvSpPr>
          <p:nvPr>
            <p:ph sz="quarter" idx="13"/>
          </p:nvPr>
        </p:nvSpPr>
        <p:spPr>
          <a:xfrm>
            <a:off x="560832" y="3243072"/>
            <a:ext cx="11045952" cy="8745728"/>
          </a:xfrm>
        </p:spPr>
        <p:txBody>
          <a:bodyPr/>
          <a:lstStyle>
            <a:lvl1pPr>
              <a:defRPr sz="6400" b="0" i="0"/>
            </a:lvl1pPr>
          </a:lstStyle>
          <a:p>
            <a:pPr lvl="0"/>
            <a:r>
              <a:rPr lang="en-US" dirty="0"/>
              <a:t>Click to edit Master text styles</a:t>
            </a:r>
          </a:p>
        </p:txBody>
      </p:sp>
      <p:sp>
        <p:nvSpPr>
          <p:cNvPr id="6" name="Text Placeholder"/>
          <p:cNvSpPr>
            <a:spLocks noGrp="1"/>
          </p:cNvSpPr>
          <p:nvPr>
            <p:ph type="body" sz="quarter" idx="12"/>
          </p:nvPr>
        </p:nvSpPr>
        <p:spPr>
          <a:xfrm>
            <a:off x="12777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953053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6681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12777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18873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896250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585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333330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12777216" y="536448"/>
            <a:ext cx="4901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18873216" y="536448"/>
            <a:ext cx="4901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92472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1045770" cy="11452352"/>
          </a:xfrm>
        </p:spPr>
        <p:txBody>
          <a:bodyPr/>
          <a:lstStyle>
            <a:lvl1pPr>
              <a:defRPr b="0" i="0">
                <a:latin typeface="IBM Plex Sans" panose="020B0503050203000203" pitchFamily="34" charset="0"/>
              </a:defRPr>
            </a:lvl1pPr>
          </a:lstStyle>
          <a:p>
            <a:r>
              <a:rPr lang="en-US" dirty="0"/>
              <a:t>Click to edit Master title style</a:t>
            </a:r>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12192000" y="0"/>
            <a:ext cx="12192000" cy="13716000"/>
          </a:xfrm>
          <a:prstGeom prst="rect">
            <a:avLst/>
          </a:prstGeom>
          <a:solidFill>
            <a:srgbClr val="F3F3F3"/>
          </a:solidFill>
        </p:spPr>
        <p:txBody>
          <a:bodyPr wrap="square" lIns="0" tIns="0" rIns="0" bIns="0" rtlCol="0" anchor="ctr">
            <a:noAutofit/>
          </a:bodyPr>
          <a:lstStyle/>
          <a:p>
            <a:pPr algn="ctr"/>
            <a:endParaRPr lang="en-US" sz="3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12777216" y="536448"/>
            <a:ext cx="10997184" cy="11452352"/>
          </a:xfrm>
        </p:spPr>
        <p:txBody>
          <a:bodyPr/>
          <a:lstStyle>
            <a:lvl1pPr>
              <a:defRPr b="0" i="0">
                <a:solidFill>
                  <a:schemeClr val="tx1"/>
                </a:solidFill>
                <a:latin typeface="IBM Plex Sans" panose="020B0503050203000203" pitchFamily="34" charset="0"/>
              </a:defRPr>
            </a:lvl1pPr>
            <a:lvl2pPr>
              <a:buClr>
                <a:schemeClr val="tx1"/>
              </a:buClr>
              <a:defRPr b="0" i="0">
                <a:solidFill>
                  <a:schemeClr val="tx1"/>
                </a:solidFill>
                <a:latin typeface="IBM Plex Sans" panose="020B0503050203000203" pitchFamily="34" charset="0"/>
              </a:defRPr>
            </a:lvl2pPr>
            <a:lvl3pPr>
              <a:buClr>
                <a:schemeClr val="tx1"/>
              </a:buClr>
              <a:defRPr b="0" i="0">
                <a:solidFill>
                  <a:schemeClr val="tx1"/>
                </a:solidFill>
                <a:latin typeface="IBM Plex Sans" panose="020B0503050203000203" pitchFamily="34" charset="0"/>
              </a:defRPr>
            </a:lvl3pPr>
            <a:lvl4pPr>
              <a:buClr>
                <a:schemeClr val="tx1"/>
              </a:buClr>
              <a:defRPr b="0" i="0">
                <a:solidFill>
                  <a:schemeClr val="tx1"/>
                </a:solidFill>
                <a:latin typeface="IBM Plex Sans" panose="020B0503050203000203" pitchFamily="34" charset="0"/>
              </a:defRPr>
            </a:lvl4pPr>
            <a:lvl5pPr>
              <a:buClr>
                <a:schemeClr val="tx1"/>
              </a:buClr>
              <a:defRPr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b="0" i="0">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808864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949017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722078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47895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17994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585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1869113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2"/>
          </a:xfrm>
          <a:solidFill>
            <a:srgbClr val="0530AD"/>
          </a:solidFill>
        </p:spPr>
        <p:txBody>
          <a:bodyPr lIns="210312" tIns="201168" rIns="228600" bIns="228600"/>
          <a:lstStyle>
            <a:lvl1pPr>
              <a:defRPr b="0" i="0">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6853770"/>
            <a:ext cx="12192000" cy="6862232"/>
          </a:xfrm>
          <a:solidFill>
            <a:schemeClr val="tx1"/>
          </a:solidFill>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200829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4000" cy="6851902"/>
          </a:xfrm>
          <a:noFill/>
        </p:spPr>
        <p:txBody>
          <a:bodyPr lIns="182880" tIns="164592" rIns="228600" bIns="228600"/>
          <a:lstStyle>
            <a:lvl1pPr>
              <a:defRPr sz="12800" b="0" i="0"/>
            </a:lvl1pPr>
          </a:lstStyle>
          <a:p>
            <a:r>
              <a:rPr lang="en-US" dirty="0"/>
              <a:t>Click to edit Master title style</a:t>
            </a:r>
          </a:p>
        </p:txBody>
      </p:sp>
      <p:sp>
        <p:nvSpPr>
          <p:cNvPr id="7" name="Content Placeholder 1"/>
          <p:cNvSpPr>
            <a:spLocks noGrp="1"/>
          </p:cNvSpPr>
          <p:nvPr>
            <p:ph sz="quarter" idx="20"/>
          </p:nvPr>
        </p:nvSpPr>
        <p:spPr>
          <a:xfrm>
            <a:off x="0" y="6853770"/>
            <a:ext cx="6096000" cy="6862232"/>
          </a:xfrm>
          <a:solidFill>
            <a:srgbClr val="061F80"/>
          </a:solidFill>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4" name="Content Placeholder 2"/>
          <p:cNvSpPr>
            <a:spLocks noGrp="1"/>
          </p:cNvSpPr>
          <p:nvPr>
            <p:ph sz="quarter" idx="19"/>
          </p:nvPr>
        </p:nvSpPr>
        <p:spPr>
          <a:xfrm>
            <a:off x="6096002" y="6853770"/>
            <a:ext cx="6096000" cy="6862232"/>
          </a:xfrm>
          <a:solidFill>
            <a:srgbClr val="054ADA"/>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6" name="Content Placeholder 3"/>
          <p:cNvSpPr>
            <a:spLocks noGrp="1"/>
          </p:cNvSpPr>
          <p:nvPr>
            <p:ph sz="quarter" idx="17"/>
          </p:nvPr>
        </p:nvSpPr>
        <p:spPr>
          <a:xfrm>
            <a:off x="12192000" y="6853767"/>
            <a:ext cx="6096000" cy="6862234"/>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1" name="Content Placeholder 4"/>
          <p:cNvSpPr>
            <a:spLocks noGrp="1"/>
          </p:cNvSpPr>
          <p:nvPr>
            <p:ph sz="quarter" idx="18"/>
          </p:nvPr>
        </p:nvSpPr>
        <p:spPr>
          <a:xfrm>
            <a:off x="18288000" y="6853767"/>
            <a:ext cx="6096000" cy="6862234"/>
          </a:xfrm>
          <a:solidFill>
            <a:srgbClr val="6EA6FF"/>
          </a:solidFill>
          <a:ln>
            <a:noFill/>
          </a:ln>
        </p:spPr>
        <p:txBody>
          <a:bodyPr lIns="219456" tIns="201168" rIns="228600" bIns="228600"/>
          <a:lstStyle>
            <a:lvl1pPr>
              <a:defRPr b="0" i="0">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50037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0"/>
          </a:xfrm>
          <a:solidFill>
            <a:schemeClr val="tx1"/>
          </a:solidFill>
        </p:spPr>
        <p:txBody>
          <a:bodyPr lIns="210312" tIns="201168" rIns="228600" bIns="228600"/>
          <a:lstStyle>
            <a:lvl1pPr>
              <a:defRPr b="0" i="0">
                <a:solidFill>
                  <a:schemeClr val="bg1"/>
                </a:solidFill>
              </a:defRPr>
            </a:lvl1pPr>
          </a:lstStyle>
          <a:p>
            <a:r>
              <a:rPr lang="en-US" dirty="0"/>
              <a:t>Click to edit Master title style</a:t>
            </a:r>
          </a:p>
        </p:txBody>
      </p:sp>
      <p:sp>
        <p:nvSpPr>
          <p:cNvPr id="6" name="Picture Placeholder"/>
          <p:cNvSpPr>
            <a:spLocks noGrp="1"/>
          </p:cNvSpPr>
          <p:nvPr>
            <p:ph type="pic" sz="quarter" idx="12"/>
          </p:nvPr>
        </p:nvSpPr>
        <p:spPr>
          <a:xfrm>
            <a:off x="0" y="3403600"/>
            <a:ext cx="24384000" cy="103124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3506184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4000" cy="13728192"/>
          </a:xfrm>
        </p:spPr>
        <p:txBody>
          <a:bodyPr lIns="91440" tIns="91440" rIns="91440" bIns="91440"/>
          <a:lstStyle>
            <a:lvl1pPr>
              <a:defRPr b="0" i="0"/>
            </a:lvl1pPr>
          </a:lstStyle>
          <a:p>
            <a:r>
              <a:rPr lang="en-US" dirty="0"/>
              <a:t>Click icon to add picture</a:t>
            </a:r>
          </a:p>
        </p:txBody>
      </p:sp>
      <p:sp>
        <p:nvSpPr>
          <p:cNvPr id="6" name="Text Placeholder"/>
          <p:cNvSpPr>
            <a:spLocks noGrp="1"/>
          </p:cNvSpPr>
          <p:nvPr>
            <p:ph type="body" sz="quarter" idx="12"/>
          </p:nvPr>
        </p:nvSpPr>
        <p:spPr>
          <a:xfrm>
            <a:off x="-6" y="6858000"/>
            <a:ext cx="6096008" cy="6858000"/>
          </a:xfrm>
          <a:solidFill>
            <a:schemeClr val="tx1"/>
          </a:solidFill>
        </p:spPr>
        <p:txBody>
          <a:bodyPr lIns="219456" tIns="201168" rIns="228600" bIns="228600"/>
          <a:lstStyle>
            <a:lvl1pPr>
              <a:buClr>
                <a:schemeClr val="bg1"/>
              </a:buClr>
              <a:defRPr b="0" i="0">
                <a:solidFill>
                  <a:schemeClr val="bg1"/>
                </a:solidFill>
              </a:defRPr>
            </a:lvl1pPr>
            <a:lvl2pPr>
              <a:buClr>
                <a:schemeClr val="bg1"/>
              </a:buClr>
              <a:defRPr sz="2666" b="0" i="0">
                <a:solidFill>
                  <a:schemeClr val="bg1"/>
                </a:solidFill>
              </a:defRPr>
            </a:lvl2pPr>
            <a:lvl3pPr>
              <a:buClr>
                <a:schemeClr val="bg1"/>
              </a:buClr>
              <a:defRPr sz="2666" b="0" i="0">
                <a:solidFill>
                  <a:schemeClr val="bg1"/>
                </a:solidFill>
              </a:defRPr>
            </a:lvl3pPr>
            <a:lvl4pPr>
              <a:buClr>
                <a:schemeClr val="bg1"/>
              </a:buClr>
              <a:defRPr sz="2666" b="0" i="0">
                <a:solidFill>
                  <a:schemeClr val="bg1"/>
                </a:solidFill>
              </a:defRPr>
            </a:lvl4pPr>
            <a:lvl5pPr>
              <a:buClr>
                <a:schemeClr val="bg1"/>
              </a:buClr>
              <a:defRPr sz="2666"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609778" y="537637"/>
            <a:ext cx="11049000" cy="11451166"/>
          </a:xfrm>
        </p:spPr>
        <p:txBody>
          <a:bodyPr/>
          <a:lstStyle>
            <a:lvl1pPr>
              <a:defRPr b="0" i="0"/>
            </a:lvl1pPr>
          </a:lstStyle>
          <a:p>
            <a:r>
              <a:rPr lang="en-US" dirty="0"/>
              <a:t>Click to edit Master title style</a:t>
            </a:r>
          </a:p>
        </p:txBody>
      </p:sp>
    </p:spTree>
    <p:extLst>
      <p:ext uri="{BB962C8B-B14F-4D97-AF65-F5344CB8AC3E}">
        <p14:creationId xmlns:p14="http://schemas.microsoft.com/office/powerpoint/2010/main" val="40815317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000" cy="13728192"/>
          </a:xfrm>
          <a:solidFill>
            <a:srgbClr val="061F80"/>
          </a:solidFill>
        </p:spPr>
        <p:txBody>
          <a:bodyPr lIns="219456" tIns="201168" rIns="228600" bIns="228600"/>
          <a:lstStyle>
            <a:lvl1pPr>
              <a:buClr>
                <a:schemeClr val="bg1"/>
              </a:buCl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000" y="0"/>
            <a:ext cx="6096000" cy="13728192"/>
          </a:xfrm>
          <a:solidFill>
            <a:srgbClr val="054ADA"/>
          </a:solidFill>
        </p:spPr>
        <p:txBody>
          <a:bodyPr lIns="219456" tIns="201168" rIns="228600" bIns="228600"/>
          <a:lstStyle>
            <a:lvl1pP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2000" y="0"/>
            <a:ext cx="6096000" cy="13728192"/>
          </a:xfrm>
          <a:solidFill>
            <a:schemeClr val="accent2"/>
          </a:solidFill>
        </p:spPr>
        <p:txBody>
          <a:bodyPr lIns="219456" tIns="201168" rIns="228600" bIns="228600"/>
          <a:lstStyle>
            <a:lvl1pP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88000" y="0"/>
            <a:ext cx="6096000" cy="13728192"/>
          </a:xfrm>
          <a:solidFill>
            <a:srgbClr val="6EA6FF"/>
          </a:solidFill>
        </p:spPr>
        <p:txBody>
          <a:bodyPr lIns="219456" tIns="201168" rIns="228600" bIns="228600"/>
          <a:lstStyle>
            <a:lvl1pPr>
              <a:defRPr b="0" i="0">
                <a:solidFill>
                  <a:schemeClr val="tx1"/>
                </a:solidFill>
              </a:defRPr>
            </a:lvl1pPr>
            <a:lvl2pPr>
              <a:buClr>
                <a:schemeClr val="tx1"/>
              </a:buClr>
              <a:defRPr b="0" i="0">
                <a:solidFill>
                  <a:schemeClr val="tx1"/>
                </a:solidFill>
              </a:defRPr>
            </a:lvl2pPr>
            <a:lvl3pPr>
              <a:buClr>
                <a:schemeClr val="tx1"/>
              </a:buClr>
              <a:defRPr b="0" i="0">
                <a:solidFill>
                  <a:schemeClr val="tx1"/>
                </a:solidFill>
              </a:defRPr>
            </a:lvl3pPr>
            <a:lvl4pPr>
              <a:buClr>
                <a:schemeClr val="tx1"/>
              </a:buClr>
              <a:defRPr b="0" i="0">
                <a:solidFill>
                  <a:schemeClr val="tx1"/>
                </a:solidFill>
              </a:defRPr>
            </a:lvl4pPr>
            <a:lvl5pPr>
              <a:buClr>
                <a:schemeClr val="tx1"/>
              </a:buClr>
              <a:defRPr b="0" i="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44478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6705600" y="3316224"/>
            <a:ext cx="17068800"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242832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177996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6681216" y="3363222"/>
            <a:ext cx="4901184" cy="8625576"/>
          </a:xfrm>
        </p:spPr>
        <p:txBody>
          <a:bodyPr/>
          <a:lstStyle>
            <a:lvl1pPr>
              <a:spcBef>
                <a:spcPts val="800"/>
              </a:spcBef>
              <a:defRPr sz="2666" b="0" i="0"/>
            </a:lvl1pPr>
            <a:lvl2pPr>
              <a:spcBef>
                <a:spcPts val="800"/>
              </a:spcBef>
              <a:defRPr sz="2666" b="0" i="0"/>
            </a:lvl2pPr>
            <a:lvl3pPr>
              <a:spcBef>
                <a:spcPts val="800"/>
              </a:spcBef>
              <a:defRPr sz="2666" b="0" i="0"/>
            </a:lvl3pPr>
            <a:lvl4pPr>
              <a:spcBef>
                <a:spcPts val="800"/>
              </a:spcBef>
              <a:defRPr sz="2666" b="0" i="0"/>
            </a:lvl4pPr>
            <a:lvl5pPr>
              <a:spcBef>
                <a:spcPts val="800"/>
              </a:spcBef>
              <a:defRPr sz="2666"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129940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 2"/>
          <p:cNvSpPr>
            <a:spLocks noGrp="1"/>
          </p:cNvSpPr>
          <p:nvPr>
            <p:ph type="body" sz="quarter" idx="13"/>
          </p:nvPr>
        </p:nvSpPr>
        <p:spPr>
          <a:xfrm>
            <a:off x="6681216" y="3363222"/>
            <a:ext cx="4901184" cy="8625576"/>
          </a:xfrm>
        </p:spPr>
        <p:txBody>
          <a:bodyPr/>
          <a:lstStyle>
            <a:lvl1pPr>
              <a:spcBef>
                <a:spcPts val="800"/>
              </a:spcBef>
              <a:defRPr sz="2666" b="0" i="0"/>
            </a:lvl1pPr>
            <a:lvl2pPr>
              <a:spcBef>
                <a:spcPts val="800"/>
              </a:spcBef>
              <a:defRPr sz="2666" b="0" i="0"/>
            </a:lvl2pPr>
            <a:lvl3pPr>
              <a:spcBef>
                <a:spcPts val="800"/>
              </a:spcBef>
              <a:defRPr sz="2666" b="0" i="0"/>
            </a:lvl3pPr>
            <a:lvl4pPr>
              <a:spcBef>
                <a:spcPts val="800"/>
              </a:spcBef>
              <a:defRPr sz="2666" b="0" i="0"/>
            </a:lvl4pPr>
            <a:lvl5pPr>
              <a:spcBef>
                <a:spcPts val="800"/>
              </a:spcBef>
              <a:defRPr sz="2666"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12728448" y="3243072"/>
            <a:ext cx="11045952" cy="8745728"/>
          </a:xfrm>
        </p:spPr>
        <p:txBody>
          <a:bodyPr/>
          <a:lstStyle>
            <a:lvl1pPr>
              <a:defRPr sz="6400"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8635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279.xml"/><Relationship Id="rId7" Type="http://schemas.openxmlformats.org/officeDocument/2006/relationships/slideLayout" Target="../slideLayouts/slideLayout283.xml"/><Relationship Id="rId2" Type="http://schemas.openxmlformats.org/officeDocument/2006/relationships/slideLayout" Target="../slideLayouts/slideLayout278.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5" Type="http://schemas.openxmlformats.org/officeDocument/2006/relationships/slideLayout" Target="../slideLayouts/slideLayout281.xml"/><Relationship Id="rId10" Type="http://schemas.openxmlformats.org/officeDocument/2006/relationships/image" Target="../media/image2.png"/><Relationship Id="rId4" Type="http://schemas.openxmlformats.org/officeDocument/2006/relationships/slideLayout" Target="../slideLayouts/slideLayout280.xml"/><Relationship Id="rId9" Type="http://schemas.openxmlformats.org/officeDocument/2006/relationships/image" Target="../media/image1.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slideLayout" Target="../slideLayouts/slideLayout296.xml"/><Relationship Id="rId18" Type="http://schemas.openxmlformats.org/officeDocument/2006/relationships/image" Target="../media/image1.png"/><Relationship Id="rId3" Type="http://schemas.openxmlformats.org/officeDocument/2006/relationships/slideLayout" Target="../slideLayouts/slideLayout286.xml"/><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theme" Target="../theme/theme11.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10" Type="http://schemas.openxmlformats.org/officeDocument/2006/relationships/slideLayout" Target="../slideLayouts/slideLayout293.xml"/><Relationship Id="rId19" Type="http://schemas.openxmlformats.org/officeDocument/2006/relationships/image" Target="../media/image2.png"/><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8"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theme" Target="../theme/theme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8"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tags" Target="../tags/tag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image" Target="../media/image10.emf"/><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oleObject" Target="../embeddings/oleObject1.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tags" Target="../tags/tag2.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8" Type="http://schemas.openxmlformats.org/officeDocument/2006/relationships/slideLayout" Target="../slideLayouts/slideLayout80.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theme" Target="../theme/theme5.xml"/><Relationship Id="rId8" Type="http://schemas.openxmlformats.org/officeDocument/2006/relationships/slideLayout" Target="../slideLayouts/slideLayout1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9" Type="http://schemas.openxmlformats.org/officeDocument/2006/relationships/slideLayout" Target="../slideLayouts/slideLayout182.xml"/><Relationship Id="rId21" Type="http://schemas.openxmlformats.org/officeDocument/2006/relationships/slideLayout" Target="../slideLayouts/slideLayout164.xml"/><Relationship Id="rId34" Type="http://schemas.openxmlformats.org/officeDocument/2006/relationships/slideLayout" Target="../slideLayouts/slideLayout177.xml"/><Relationship Id="rId42" Type="http://schemas.openxmlformats.org/officeDocument/2006/relationships/slideLayout" Target="../slideLayouts/slideLayout185.xml"/><Relationship Id="rId7" Type="http://schemas.openxmlformats.org/officeDocument/2006/relationships/slideLayout" Target="../slideLayouts/slideLayout15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9" Type="http://schemas.openxmlformats.org/officeDocument/2006/relationships/slideLayout" Target="../slideLayouts/slideLayout172.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slideLayout" Target="../slideLayouts/slideLayout175.xml"/><Relationship Id="rId37" Type="http://schemas.openxmlformats.org/officeDocument/2006/relationships/slideLayout" Target="../slideLayouts/slideLayout180.xml"/><Relationship Id="rId40" Type="http://schemas.openxmlformats.org/officeDocument/2006/relationships/slideLayout" Target="../slideLayouts/slideLayout183.xml"/><Relationship Id="rId45" Type="http://schemas.openxmlformats.org/officeDocument/2006/relationships/theme" Target="../theme/theme6.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36" Type="http://schemas.openxmlformats.org/officeDocument/2006/relationships/slideLayout" Target="../slideLayouts/slideLayout179.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slideLayout" Target="../slideLayouts/slideLayout174.xml"/><Relationship Id="rId44" Type="http://schemas.openxmlformats.org/officeDocument/2006/relationships/slideLayout" Target="../slideLayouts/slideLayout187.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 Id="rId35" Type="http://schemas.openxmlformats.org/officeDocument/2006/relationships/slideLayout" Target="../slideLayouts/slideLayout178.xml"/><Relationship Id="rId43" Type="http://schemas.openxmlformats.org/officeDocument/2006/relationships/slideLayout" Target="../slideLayouts/slideLayout186.xml"/><Relationship Id="rId8" Type="http://schemas.openxmlformats.org/officeDocument/2006/relationships/slideLayout" Target="../slideLayouts/slideLayout151.xml"/><Relationship Id="rId3" Type="http://schemas.openxmlformats.org/officeDocument/2006/relationships/slideLayout" Target="../slideLayouts/slideLayout146.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slideLayout" Target="../slideLayouts/slideLayout176.xml"/><Relationship Id="rId38" Type="http://schemas.openxmlformats.org/officeDocument/2006/relationships/slideLayout" Target="../slideLayouts/slideLayout181.xml"/><Relationship Id="rId20" Type="http://schemas.openxmlformats.org/officeDocument/2006/relationships/slideLayout" Target="../slideLayouts/slideLayout163.xml"/><Relationship Id="rId41" Type="http://schemas.openxmlformats.org/officeDocument/2006/relationships/slideLayout" Target="../slideLayouts/slideLayout18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9" Type="http://schemas.openxmlformats.org/officeDocument/2006/relationships/slideLayout" Target="../slideLayouts/slideLayout226.xml"/><Relationship Id="rId21" Type="http://schemas.openxmlformats.org/officeDocument/2006/relationships/slideLayout" Target="../slideLayouts/slideLayout208.xml"/><Relationship Id="rId34" Type="http://schemas.openxmlformats.org/officeDocument/2006/relationships/slideLayout" Target="../slideLayouts/slideLayout221.xml"/><Relationship Id="rId42" Type="http://schemas.openxmlformats.org/officeDocument/2006/relationships/theme" Target="../theme/theme7.xml"/><Relationship Id="rId7" Type="http://schemas.openxmlformats.org/officeDocument/2006/relationships/slideLayout" Target="../slideLayouts/slideLayout194.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41" Type="http://schemas.openxmlformats.org/officeDocument/2006/relationships/slideLayout" Target="../slideLayouts/slideLayout228.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37" Type="http://schemas.openxmlformats.org/officeDocument/2006/relationships/slideLayout" Target="../slideLayouts/slideLayout224.xml"/><Relationship Id="rId40" Type="http://schemas.openxmlformats.org/officeDocument/2006/relationships/slideLayout" Target="../slideLayouts/slideLayout227.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36" Type="http://schemas.openxmlformats.org/officeDocument/2006/relationships/slideLayout" Target="../slideLayouts/slideLayout223.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slideLayout" Target="../slideLayouts/slideLayout222.xml"/><Relationship Id="rId8" Type="http://schemas.openxmlformats.org/officeDocument/2006/relationships/slideLayout" Target="../slideLayouts/slideLayout195.xml"/><Relationship Id="rId3" Type="http://schemas.openxmlformats.org/officeDocument/2006/relationships/slideLayout" Target="../slideLayouts/slideLayout190.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slideLayout" Target="../slideLayouts/slideLayout220.xml"/><Relationship Id="rId38" Type="http://schemas.openxmlformats.org/officeDocument/2006/relationships/slideLayout" Target="../slideLayouts/slideLayout2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3" Type="http://schemas.openxmlformats.org/officeDocument/2006/relationships/slideLayout" Target="../slideLayouts/slideLayout231.xml"/><Relationship Id="rId21" Type="http://schemas.openxmlformats.org/officeDocument/2006/relationships/slideLayout" Target="../slideLayouts/slideLayout249.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0" Type="http://schemas.openxmlformats.org/officeDocument/2006/relationships/slideLayout" Target="../slideLayouts/slideLayout248.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24" Type="http://schemas.openxmlformats.org/officeDocument/2006/relationships/theme" Target="../theme/theme8.x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23" Type="http://schemas.openxmlformats.org/officeDocument/2006/relationships/slideLayout" Target="../slideLayouts/slideLayout251.xml"/><Relationship Id="rId10" Type="http://schemas.openxmlformats.org/officeDocument/2006/relationships/slideLayout" Target="../slideLayouts/slideLayout238.xml"/><Relationship Id="rId19" Type="http://schemas.openxmlformats.org/officeDocument/2006/relationships/slideLayout" Target="../slideLayouts/slideLayout247.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 Id="rId22" Type="http://schemas.openxmlformats.org/officeDocument/2006/relationships/slideLayout" Target="../slideLayouts/slideLayout2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26" Type="http://schemas.openxmlformats.org/officeDocument/2006/relationships/theme" Target="../theme/theme9.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5" Type="http://schemas.openxmlformats.org/officeDocument/2006/relationships/slideLayout" Target="../slideLayouts/slideLayout276.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24" Type="http://schemas.openxmlformats.org/officeDocument/2006/relationships/slideLayout" Target="../slideLayouts/slideLayout275.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slideLayout" Target="../slideLayouts/slideLayout274.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slideLayout" Target="../slideLayouts/slideLayout2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1" name="Group 45"/>
          <p:cNvGrpSpPr/>
          <p:nvPr/>
        </p:nvGrpSpPr>
        <p:grpSpPr>
          <a:xfrm>
            <a:off x="-778940" y="686975"/>
            <a:ext cx="287879" cy="12370321"/>
            <a:chOff x="0" y="0"/>
            <a:chExt cx="287877" cy="12370320"/>
          </a:xfrm>
        </p:grpSpPr>
        <p:sp>
          <p:nvSpPr>
            <p:cNvPr id="2"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3"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6"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7"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8"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9"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0"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grpSp>
        <p:nvGrpSpPr>
          <p:cNvPr id="21" name="Group 58"/>
          <p:cNvGrpSpPr/>
          <p:nvPr/>
        </p:nvGrpSpPr>
        <p:grpSpPr>
          <a:xfrm>
            <a:off x="24718892" y="686975"/>
            <a:ext cx="287879" cy="12370321"/>
            <a:chOff x="0" y="0"/>
            <a:chExt cx="287877" cy="12370320"/>
          </a:xfrm>
        </p:grpSpPr>
        <p:sp>
          <p:nvSpPr>
            <p:cNvPr id="12"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3"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4"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5"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6"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7"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8"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9"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20"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pic>
        <p:nvPicPr>
          <p:cNvPr id="22" name="Picture 5" descr="Picture 5"/>
          <p:cNvPicPr>
            <a:picLocks noChangeAspect="1"/>
          </p:cNvPicPr>
          <p:nvPr/>
        </p:nvPicPr>
        <p:blipFill>
          <a:blip r:embed="rId9"/>
          <a:stretch>
            <a:fillRect/>
          </a:stretch>
        </p:blipFill>
        <p:spPr>
          <a:xfrm>
            <a:off x="10487707" y="6182306"/>
            <a:ext cx="3408588" cy="1351385"/>
          </a:xfrm>
          <a:prstGeom prst="rect">
            <a:avLst/>
          </a:prstGeom>
          <a:ln w="12700">
            <a:miter lim="400000"/>
          </a:ln>
        </p:spPr>
      </p:pic>
      <p:pic>
        <p:nvPicPr>
          <p:cNvPr id="23" name="Image" descr="Image"/>
          <p:cNvPicPr>
            <a:picLocks noChangeAspect="1"/>
          </p:cNvPicPr>
          <p:nvPr/>
        </p:nvPicPr>
        <p:blipFill>
          <a:blip r:embed="rId10"/>
          <a:stretch>
            <a:fillRect/>
          </a:stretch>
        </p:blipFill>
        <p:spPr>
          <a:xfrm>
            <a:off x="533815" y="13003352"/>
            <a:ext cx="716923" cy="549610"/>
          </a:xfrm>
          <a:prstGeom prst="rect">
            <a:avLst/>
          </a:prstGeom>
          <a:ln w="12700">
            <a:miter lim="400000"/>
          </a:ln>
        </p:spPr>
      </p:pic>
      <p:sp>
        <p:nvSpPr>
          <p:cNvPr id="24" name="IBM Customer Success / © 2021 IBM Corporation"/>
          <p:cNvSpPr txBox="1"/>
          <p:nvPr/>
        </p:nvSpPr>
        <p:spPr>
          <a:xfrm>
            <a:off x="1160780" y="13142382"/>
            <a:ext cx="5349285" cy="3795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
        <p:nvSpPr>
          <p:cNvPr id="25" name="Title Text"/>
          <p:cNvSpPr txBox="1">
            <a:spLocks noGrp="1"/>
          </p:cNvSpPr>
          <p:nvPr>
            <p:ph type="title"/>
          </p:nvPr>
        </p:nvSpPr>
        <p:spPr>
          <a:xfrm>
            <a:off x="1219199" y="549274"/>
            <a:ext cx="21945601"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26" name="Body Level One…"/>
          <p:cNvSpPr txBox="1">
            <a:spLocks noGrp="1"/>
          </p:cNvSpPr>
          <p:nvPr>
            <p:ph type="body" idx="1"/>
          </p:nvPr>
        </p:nvSpPr>
        <p:spPr>
          <a:xfrm>
            <a:off x="1219199" y="3200399"/>
            <a:ext cx="21945601" cy="105156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27" name="Slide Number"/>
          <p:cNvSpPr txBox="1">
            <a:spLocks noGrp="1"/>
          </p:cNvSpPr>
          <p:nvPr>
            <p:ph type="sldNum" sz="quarter" idx="2"/>
          </p:nvPr>
        </p:nvSpPr>
        <p:spPr>
          <a:xfrm>
            <a:off x="23950928" y="13258798"/>
            <a:ext cx="256541" cy="254001"/>
          </a:xfrm>
          <a:prstGeom prst="rect">
            <a:avLst/>
          </a:prstGeom>
          <a:ln w="12700">
            <a:miter lim="400000"/>
          </a:ln>
        </p:spPr>
        <p:txBody>
          <a:bodyPr wrap="none" lIns="0" tIns="0" rIns="0" bIns="0" anchor="ctr">
            <a:spAutoFit/>
          </a:bodyPr>
          <a:lstStyle>
            <a:lvl1pPr defTabSz="1219200">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5" r:id="rId3"/>
    <p:sldLayoutId id="2147483656" r:id="rId4"/>
    <p:sldLayoutId id="2147483661" r:id="rId5"/>
    <p:sldLayoutId id="2147483662" r:id="rId6"/>
    <p:sldLayoutId id="2147483857" r:id="rId7"/>
  </p:sldLayoutIdLst>
  <p:transition spd="med"/>
  <p:txStyles>
    <p:titleStyle>
      <a:lvl1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1pPr>
      <a:lvl2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2pPr>
      <a:lvl3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3pPr>
      <a:lvl4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4pPr>
      <a:lvl5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5pPr>
      <a:lvl6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6pPr>
      <a:lvl7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7pPr>
      <a:lvl8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8pPr>
      <a:lvl9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9pPr>
    </p:titleStyle>
    <p:bodyStyle>
      <a:lvl1pPr marL="0" marR="0" indent="0" algn="l" defTabSz="1828800" latinLnBrk="0">
        <a:lnSpc>
          <a:spcPts val="4200"/>
        </a:lnSpc>
        <a:spcBef>
          <a:spcPts val="1800"/>
        </a:spcBef>
        <a:spcAft>
          <a:spcPts val="0"/>
        </a:spcAft>
        <a:buClrTx/>
        <a:buSzTx/>
        <a:buFontTx/>
        <a:buNone/>
        <a:tabLst/>
        <a:defRPr sz="3200" b="0" i="0" u="none" strike="noStrike" cap="none" spc="0" baseline="0">
          <a:solidFill>
            <a:srgbClr val="000000"/>
          </a:solidFill>
          <a:uFillTx/>
          <a:latin typeface="IBM Plex Sans"/>
          <a:ea typeface="IBM Plex Sans"/>
          <a:cs typeface="IBM Plex Sans"/>
          <a:sym typeface="IBM Plex Sans"/>
        </a:defRPr>
      </a:lvl1pPr>
      <a:lvl2pPr marL="11049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2pPr>
      <a:lvl3pPr marL="11430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3pPr>
      <a:lvl4pPr marL="14859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4pPr>
      <a:lvl5pPr marL="21336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5pPr>
      <a:lvl6pPr marL="21365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6pPr>
      <a:lvl7pPr marL="24794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7pPr>
      <a:lvl8pPr marL="28223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8pPr>
      <a:lvl9pPr marL="31652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9pPr>
    </p:bodyStyle>
    <p:otherStyle>
      <a:lvl1pPr marL="0" marR="0" indent="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1pPr>
      <a:lvl2pPr marL="0" marR="0" indent="457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2pPr>
      <a:lvl3pPr marL="0" marR="0" indent="914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3pPr>
      <a:lvl4pPr marL="0" marR="0" indent="1371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4pPr>
      <a:lvl5pPr marL="0" marR="0" indent="18288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5pPr>
      <a:lvl6pPr marL="0" marR="0" indent="22860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6pPr>
      <a:lvl7pPr marL="0" marR="0" indent="2743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7pPr>
      <a:lvl8pPr marL="0" marR="0" indent="3200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8pPr>
      <a:lvl9pPr marL="0" marR="0" indent="3657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1" name="Group 45"/>
          <p:cNvGrpSpPr/>
          <p:nvPr/>
        </p:nvGrpSpPr>
        <p:grpSpPr>
          <a:xfrm>
            <a:off x="-778940" y="686975"/>
            <a:ext cx="287879" cy="12370321"/>
            <a:chOff x="0" y="0"/>
            <a:chExt cx="287877" cy="12370320"/>
          </a:xfrm>
        </p:grpSpPr>
        <p:sp>
          <p:nvSpPr>
            <p:cNvPr id="2"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3"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6"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7"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8"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9"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0"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grpSp>
        <p:nvGrpSpPr>
          <p:cNvPr id="21" name="Group 58"/>
          <p:cNvGrpSpPr/>
          <p:nvPr/>
        </p:nvGrpSpPr>
        <p:grpSpPr>
          <a:xfrm>
            <a:off x="24718892" y="686975"/>
            <a:ext cx="287879" cy="12370321"/>
            <a:chOff x="0" y="0"/>
            <a:chExt cx="287877" cy="12370320"/>
          </a:xfrm>
        </p:grpSpPr>
        <p:sp>
          <p:nvSpPr>
            <p:cNvPr id="12"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3"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4"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5"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6"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7"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8"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9"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20"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pic>
        <p:nvPicPr>
          <p:cNvPr id="22" name="Picture 5" descr="Picture 5"/>
          <p:cNvPicPr>
            <a:picLocks noChangeAspect="1"/>
          </p:cNvPicPr>
          <p:nvPr/>
        </p:nvPicPr>
        <p:blipFill>
          <a:blip r:embed="rId9"/>
          <a:stretch>
            <a:fillRect/>
          </a:stretch>
        </p:blipFill>
        <p:spPr>
          <a:xfrm>
            <a:off x="10487707" y="6182306"/>
            <a:ext cx="3408588" cy="1351385"/>
          </a:xfrm>
          <a:prstGeom prst="rect">
            <a:avLst/>
          </a:prstGeom>
          <a:ln w="12700">
            <a:miter lim="400000"/>
          </a:ln>
        </p:spPr>
      </p:pic>
      <p:pic>
        <p:nvPicPr>
          <p:cNvPr id="23" name="Image" descr="Image"/>
          <p:cNvPicPr>
            <a:picLocks noChangeAspect="1"/>
          </p:cNvPicPr>
          <p:nvPr/>
        </p:nvPicPr>
        <p:blipFill>
          <a:blip r:embed="rId10"/>
          <a:stretch>
            <a:fillRect/>
          </a:stretch>
        </p:blipFill>
        <p:spPr>
          <a:xfrm>
            <a:off x="533815" y="13003352"/>
            <a:ext cx="716923" cy="549610"/>
          </a:xfrm>
          <a:prstGeom prst="rect">
            <a:avLst/>
          </a:prstGeom>
          <a:ln w="12700">
            <a:miter lim="400000"/>
          </a:ln>
        </p:spPr>
      </p:pic>
      <p:sp>
        <p:nvSpPr>
          <p:cNvPr id="2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25" name="Title Text"/>
          <p:cNvSpPr txBox="1">
            <a:spLocks noGrp="1"/>
          </p:cNvSpPr>
          <p:nvPr>
            <p:ph type="title"/>
          </p:nvPr>
        </p:nvSpPr>
        <p:spPr>
          <a:xfrm>
            <a:off x="1219199" y="549274"/>
            <a:ext cx="21945601"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26" name="Body Level One…"/>
          <p:cNvSpPr txBox="1">
            <a:spLocks noGrp="1"/>
          </p:cNvSpPr>
          <p:nvPr>
            <p:ph type="body" idx="1"/>
          </p:nvPr>
        </p:nvSpPr>
        <p:spPr>
          <a:xfrm>
            <a:off x="1219199" y="3200399"/>
            <a:ext cx="21945601" cy="105156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27" name="Slide Number"/>
          <p:cNvSpPr txBox="1">
            <a:spLocks noGrp="1"/>
          </p:cNvSpPr>
          <p:nvPr>
            <p:ph type="sldNum" sz="quarter" idx="2"/>
          </p:nvPr>
        </p:nvSpPr>
        <p:spPr>
          <a:xfrm>
            <a:off x="23950928" y="13258798"/>
            <a:ext cx="256541" cy="254001"/>
          </a:xfrm>
          <a:prstGeom prst="rect">
            <a:avLst/>
          </a:prstGeom>
          <a:ln w="12700">
            <a:miter lim="400000"/>
          </a:ln>
        </p:spPr>
        <p:txBody>
          <a:bodyPr wrap="none" lIns="0" tIns="0" rIns="0" bIns="0" anchor="ctr">
            <a:spAutoFit/>
          </a:bodyPr>
          <a:lstStyle>
            <a:lvl1pPr defTabSz="1219200">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696709722"/>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Lst>
  <p:transition spd="med"/>
  <p:txStyles>
    <p:titleStyle>
      <a:lvl1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1pPr>
      <a:lvl2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2pPr>
      <a:lvl3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3pPr>
      <a:lvl4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4pPr>
      <a:lvl5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5pPr>
      <a:lvl6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6pPr>
      <a:lvl7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7pPr>
      <a:lvl8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8pPr>
      <a:lvl9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9pPr>
    </p:titleStyle>
    <p:bodyStyle>
      <a:lvl1pPr marL="0" marR="0" indent="0" algn="l" defTabSz="1828800" latinLnBrk="0">
        <a:lnSpc>
          <a:spcPts val="4200"/>
        </a:lnSpc>
        <a:spcBef>
          <a:spcPts val="1800"/>
        </a:spcBef>
        <a:spcAft>
          <a:spcPts val="0"/>
        </a:spcAft>
        <a:buClrTx/>
        <a:buSzTx/>
        <a:buFontTx/>
        <a:buNone/>
        <a:tabLst/>
        <a:defRPr sz="3200" b="0" i="0" u="none" strike="noStrike" cap="none" spc="0" baseline="0">
          <a:solidFill>
            <a:srgbClr val="000000"/>
          </a:solidFill>
          <a:uFillTx/>
          <a:latin typeface="IBM Plex Sans"/>
          <a:ea typeface="IBM Plex Sans"/>
          <a:cs typeface="IBM Plex Sans"/>
          <a:sym typeface="IBM Plex Sans"/>
        </a:defRPr>
      </a:lvl1pPr>
      <a:lvl2pPr marL="11049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2pPr>
      <a:lvl3pPr marL="11430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3pPr>
      <a:lvl4pPr marL="14859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4pPr>
      <a:lvl5pPr marL="21336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5pPr>
      <a:lvl6pPr marL="21365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6pPr>
      <a:lvl7pPr marL="24794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7pPr>
      <a:lvl8pPr marL="28223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8pPr>
      <a:lvl9pPr marL="31652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9pPr>
    </p:bodyStyle>
    <p:otherStyle>
      <a:lvl1pPr marL="0" marR="0" indent="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1pPr>
      <a:lvl2pPr marL="0" marR="0" indent="457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2pPr>
      <a:lvl3pPr marL="0" marR="0" indent="914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3pPr>
      <a:lvl4pPr marL="0" marR="0" indent="1371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4pPr>
      <a:lvl5pPr marL="0" marR="0" indent="18288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5pPr>
      <a:lvl6pPr marL="0" marR="0" indent="22860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6pPr>
      <a:lvl7pPr marL="0" marR="0" indent="2743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7pPr>
      <a:lvl8pPr marL="0" marR="0" indent="3200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8pPr>
      <a:lvl9pPr marL="0" marR="0" indent="3657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1" name="Group 45"/>
          <p:cNvGrpSpPr/>
          <p:nvPr/>
        </p:nvGrpSpPr>
        <p:grpSpPr>
          <a:xfrm>
            <a:off x="-778940" y="686975"/>
            <a:ext cx="287879" cy="12370321"/>
            <a:chOff x="0" y="0"/>
            <a:chExt cx="287877" cy="12370320"/>
          </a:xfrm>
        </p:grpSpPr>
        <p:sp>
          <p:nvSpPr>
            <p:cNvPr id="2"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3"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6"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7"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8"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9"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0"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grpSp>
        <p:nvGrpSpPr>
          <p:cNvPr id="21" name="Group 58"/>
          <p:cNvGrpSpPr/>
          <p:nvPr/>
        </p:nvGrpSpPr>
        <p:grpSpPr>
          <a:xfrm>
            <a:off x="24718892" y="686975"/>
            <a:ext cx="287879" cy="12370321"/>
            <a:chOff x="0" y="0"/>
            <a:chExt cx="287877" cy="12370320"/>
          </a:xfrm>
        </p:grpSpPr>
        <p:sp>
          <p:nvSpPr>
            <p:cNvPr id="12"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3"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4"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5"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6"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7"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8"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9"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20"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pic>
        <p:nvPicPr>
          <p:cNvPr id="22" name="Picture 5" descr="Picture 5"/>
          <p:cNvPicPr>
            <a:picLocks noChangeAspect="1"/>
          </p:cNvPicPr>
          <p:nvPr/>
        </p:nvPicPr>
        <p:blipFill>
          <a:blip r:embed="rId18"/>
          <a:stretch>
            <a:fillRect/>
          </a:stretch>
        </p:blipFill>
        <p:spPr>
          <a:xfrm>
            <a:off x="10487707" y="6182306"/>
            <a:ext cx="3408588" cy="1351385"/>
          </a:xfrm>
          <a:prstGeom prst="rect">
            <a:avLst/>
          </a:prstGeom>
          <a:ln w="12700">
            <a:miter lim="400000"/>
          </a:ln>
        </p:spPr>
      </p:pic>
      <p:pic>
        <p:nvPicPr>
          <p:cNvPr id="23" name="Image" descr="Image"/>
          <p:cNvPicPr>
            <a:picLocks noChangeAspect="1"/>
          </p:cNvPicPr>
          <p:nvPr/>
        </p:nvPicPr>
        <p:blipFill>
          <a:blip r:embed="rId19"/>
          <a:stretch>
            <a:fillRect/>
          </a:stretch>
        </p:blipFill>
        <p:spPr>
          <a:xfrm>
            <a:off x="533815" y="13003352"/>
            <a:ext cx="716923" cy="549610"/>
          </a:xfrm>
          <a:prstGeom prst="rect">
            <a:avLst/>
          </a:prstGeom>
          <a:ln w="12700">
            <a:miter lim="400000"/>
          </a:ln>
        </p:spPr>
      </p:pic>
      <p:sp>
        <p:nvSpPr>
          <p:cNvPr id="2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25" name="Title Text"/>
          <p:cNvSpPr txBox="1">
            <a:spLocks noGrp="1"/>
          </p:cNvSpPr>
          <p:nvPr>
            <p:ph type="title"/>
          </p:nvPr>
        </p:nvSpPr>
        <p:spPr>
          <a:xfrm>
            <a:off x="1219199" y="549274"/>
            <a:ext cx="21945601"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26" name="Body Level One…"/>
          <p:cNvSpPr txBox="1">
            <a:spLocks noGrp="1"/>
          </p:cNvSpPr>
          <p:nvPr>
            <p:ph type="body" idx="1"/>
          </p:nvPr>
        </p:nvSpPr>
        <p:spPr>
          <a:xfrm>
            <a:off x="1219199" y="3200399"/>
            <a:ext cx="21945601" cy="105156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27" name="Slide Number"/>
          <p:cNvSpPr txBox="1">
            <a:spLocks noGrp="1"/>
          </p:cNvSpPr>
          <p:nvPr>
            <p:ph type="sldNum" sz="quarter" idx="2"/>
          </p:nvPr>
        </p:nvSpPr>
        <p:spPr>
          <a:xfrm>
            <a:off x="23950928" y="13258798"/>
            <a:ext cx="256541" cy="254001"/>
          </a:xfrm>
          <a:prstGeom prst="rect">
            <a:avLst/>
          </a:prstGeom>
          <a:ln w="12700">
            <a:miter lim="400000"/>
          </a:ln>
        </p:spPr>
        <p:txBody>
          <a:bodyPr wrap="none" lIns="0" tIns="0" rIns="0" bIns="0" anchor="ctr">
            <a:spAutoFit/>
          </a:bodyPr>
          <a:lstStyle>
            <a:lvl1pPr defTabSz="1219200">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270289291"/>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 id="2147484060" r:id="rId8"/>
    <p:sldLayoutId id="2147484061" r:id="rId9"/>
    <p:sldLayoutId id="2147484062" r:id="rId10"/>
    <p:sldLayoutId id="2147484063" r:id="rId11"/>
    <p:sldLayoutId id="2147484064" r:id="rId12"/>
    <p:sldLayoutId id="2147484065" r:id="rId13"/>
    <p:sldLayoutId id="2147484066" r:id="rId14"/>
    <p:sldLayoutId id="2147484067" r:id="rId15"/>
    <p:sldLayoutId id="2147484068" r:id="rId16"/>
  </p:sldLayoutIdLst>
  <p:transition spd="med"/>
  <p:txStyles>
    <p:titleStyle>
      <a:lvl1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1pPr>
      <a:lvl2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2pPr>
      <a:lvl3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3pPr>
      <a:lvl4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4pPr>
      <a:lvl5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5pPr>
      <a:lvl6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6pPr>
      <a:lvl7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7pPr>
      <a:lvl8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8pPr>
      <a:lvl9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9pPr>
    </p:titleStyle>
    <p:bodyStyle>
      <a:lvl1pPr marL="0" marR="0" indent="0" algn="l" defTabSz="1828800" latinLnBrk="0">
        <a:lnSpc>
          <a:spcPts val="4200"/>
        </a:lnSpc>
        <a:spcBef>
          <a:spcPts val="1800"/>
        </a:spcBef>
        <a:spcAft>
          <a:spcPts val="0"/>
        </a:spcAft>
        <a:buClrTx/>
        <a:buSzTx/>
        <a:buFontTx/>
        <a:buNone/>
        <a:tabLst/>
        <a:defRPr sz="3200" b="0" i="0" u="none" strike="noStrike" cap="none" spc="0" baseline="0">
          <a:solidFill>
            <a:srgbClr val="000000"/>
          </a:solidFill>
          <a:uFillTx/>
          <a:latin typeface="IBM Plex Sans"/>
          <a:ea typeface="IBM Plex Sans"/>
          <a:cs typeface="IBM Plex Sans"/>
          <a:sym typeface="IBM Plex Sans"/>
        </a:defRPr>
      </a:lvl1pPr>
      <a:lvl2pPr marL="11049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2pPr>
      <a:lvl3pPr marL="11430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3pPr>
      <a:lvl4pPr marL="14859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4pPr>
      <a:lvl5pPr marL="21336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5pPr>
      <a:lvl6pPr marL="21365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6pPr>
      <a:lvl7pPr marL="24794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7pPr>
      <a:lvl8pPr marL="28223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8pPr>
      <a:lvl9pPr marL="31652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9pPr>
    </p:bodyStyle>
    <p:otherStyle>
      <a:lvl1pPr marL="0" marR="0" indent="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1pPr>
      <a:lvl2pPr marL="0" marR="0" indent="457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2pPr>
      <a:lvl3pPr marL="0" marR="0" indent="914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3pPr>
      <a:lvl4pPr marL="0" marR="0" indent="1371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4pPr>
      <a:lvl5pPr marL="0" marR="0" indent="18288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5pPr>
      <a:lvl6pPr marL="0" marR="0" indent="22860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6pPr>
      <a:lvl7pPr marL="0" marR="0" indent="2743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7pPr>
      <a:lvl8pPr marL="0" marR="0" indent="3200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8pPr>
      <a:lvl9pPr marL="0" marR="0" indent="3657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560832" y="536449"/>
            <a:ext cx="11045952"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12777216" y="536449"/>
            <a:ext cx="10997184"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609776" y="12767735"/>
            <a:ext cx="10972624" cy="444499"/>
          </a:xfrm>
          <a:prstGeom prst="rect">
            <a:avLst/>
          </a:prstGeom>
        </p:spPr>
        <p:txBody>
          <a:bodyPr vert="horz" lIns="0" tIns="0" rIns="0" bIns="0" rtlCol="0" anchor="ctr"/>
          <a:lstStyle>
            <a:lvl1pPr marL="0" marR="0" indent="0" algn="l" defTabSz="1827596" rtl="0" eaLnBrk="1" fontAlgn="auto" latinLnBrk="0" hangingPunct="1">
              <a:lnSpc>
                <a:spcPct val="100000"/>
              </a:lnSpc>
              <a:spcBef>
                <a:spcPts val="0"/>
              </a:spcBef>
              <a:spcAft>
                <a:spcPts val="0"/>
              </a:spcAft>
              <a:buClrTx/>
              <a:buSzTx/>
              <a:buFontTx/>
              <a:buNone/>
              <a:tabLst/>
              <a:defRPr sz="1599">
                <a:solidFill>
                  <a:schemeClr val="bg1"/>
                </a:solidFill>
              </a:defRPr>
            </a:lvl1pPr>
          </a:lstStyle>
          <a:p>
            <a:r>
              <a:rPr lang="en-US"/>
              <a:t>IBM Cloud / May 2021/ © 2021 IBM Corporation</a:t>
            </a:r>
          </a:p>
        </p:txBody>
      </p:sp>
      <p:sp>
        <p:nvSpPr>
          <p:cNvPr id="8" name="Slide Number Placeholder 7"/>
          <p:cNvSpPr>
            <a:spLocks noGrp="1"/>
          </p:cNvSpPr>
          <p:nvPr>
            <p:ph type="sldNum" sz="quarter" idx="4"/>
          </p:nvPr>
        </p:nvSpPr>
        <p:spPr>
          <a:xfrm>
            <a:off x="18897600" y="12767735"/>
            <a:ext cx="4876619" cy="444499"/>
          </a:xfrm>
          <a:prstGeom prst="rect">
            <a:avLst/>
          </a:prstGeom>
        </p:spPr>
        <p:txBody>
          <a:bodyPr vert="horz" lIns="0" tIns="0" rIns="0" bIns="0" rtlCol="0" anchor="ctr"/>
          <a:lstStyle>
            <a:lvl1pPr algn="r">
              <a:defRPr sz="1599">
                <a:solidFill>
                  <a:schemeClr val="bg1"/>
                </a:solidFill>
              </a:defRPr>
            </a:lvl1pPr>
          </a:lstStyle>
          <a:p>
            <a:fld id="{59395FB3-9C97-154F-86B2-7E381B951268}" type="slidenum">
              <a:rPr lang="en-US" smtClean="0"/>
              <a:pPr/>
              <a:t>‹#›</a:t>
            </a:fld>
            <a:endParaRPr lang="en-US"/>
          </a:p>
        </p:txBody>
      </p:sp>
      <p:grpSp>
        <p:nvGrpSpPr>
          <p:cNvPr id="59" name="Group 58"/>
          <p:cNvGrpSpPr/>
          <p:nvPr userDrawn="1"/>
        </p:nvGrpSpPr>
        <p:grpSpPr>
          <a:xfrm>
            <a:off x="-292613" y="-294641"/>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935903145"/>
      </p:ext>
    </p:extLst>
  </p:cSld>
  <p:clrMap bg1="dk1" tx1="lt1" bg2="dk2" tx2="lt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Lst>
  <p:hf hdr="0" dt="0"/>
  <p:txStyles>
    <p:titleStyle>
      <a:lvl1pPr algn="l" rtl="0" eaLnBrk="1" fontAlgn="base" hangingPunct="1">
        <a:lnSpc>
          <a:spcPct val="90000"/>
        </a:lnSpc>
        <a:spcBef>
          <a:spcPct val="0"/>
        </a:spcBef>
        <a:spcAft>
          <a:spcPct val="0"/>
        </a:spcAft>
        <a:defRPr sz="6394" b="0">
          <a:solidFill>
            <a:schemeClr val="bg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43"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891"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32"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777" algn="l" rtl="0" eaLnBrk="1" fontAlgn="base" hangingPunct="1">
        <a:lnSpc>
          <a:spcPct val="90000"/>
        </a:lnSpc>
        <a:spcBef>
          <a:spcPct val="0"/>
        </a:spcBef>
        <a:spcAft>
          <a:spcPct val="0"/>
        </a:spcAft>
        <a:defRPr sz="5915">
          <a:solidFill>
            <a:srgbClr val="191919"/>
          </a:solidFill>
          <a:latin typeface="HelvNeue Light for IBM" pitchFamily="34" charset="0"/>
        </a:defRPr>
      </a:lvl9pPr>
    </p:titleStyle>
    <p:bodyStyle>
      <a:lvl1pPr marL="0" indent="0" algn="l" rtl="0" eaLnBrk="1" fontAlgn="base" hangingPunct="1">
        <a:lnSpc>
          <a:spcPct val="100000"/>
        </a:lnSpc>
        <a:spcBef>
          <a:spcPts val="2931"/>
        </a:spcBef>
        <a:spcAft>
          <a:spcPct val="0"/>
        </a:spcAft>
        <a:buClr>
          <a:srgbClr val="6D6E70"/>
        </a:buClr>
        <a:buSzPct val="90000"/>
        <a:buFont typeface="Wingdings" pitchFamily="2" charset="2"/>
        <a:buNone/>
        <a:defRPr sz="3730">
          <a:solidFill>
            <a:schemeClr val="bg1"/>
          </a:solidFill>
          <a:latin typeface="IBM Plex Sans" charset="0"/>
          <a:ea typeface="IBM Plex Sans" charset="0"/>
          <a:cs typeface="IBM Plex Sans" charset="0"/>
        </a:defRPr>
      </a:lvl1pPr>
      <a:lvl2pPr marL="456777" indent="-456777" algn="l" rtl="0" eaLnBrk="1" fontAlgn="base" hangingPunct="1">
        <a:lnSpc>
          <a:spcPct val="100000"/>
        </a:lnSpc>
        <a:spcBef>
          <a:spcPts val="2931"/>
        </a:spcBef>
        <a:spcAft>
          <a:spcPct val="0"/>
        </a:spcAft>
        <a:buClr>
          <a:schemeClr val="bg1"/>
        </a:buClr>
        <a:buSzPct val="100000"/>
        <a:buFont typeface=".AppleSystemUIFont" charset="-120"/>
        <a:buChar char="–"/>
        <a:tabLst/>
        <a:defRPr sz="3730">
          <a:solidFill>
            <a:schemeClr val="bg1"/>
          </a:solidFill>
          <a:latin typeface="IBM Plex Sans" charset="0"/>
          <a:ea typeface="IBM Plex Sans" charset="0"/>
          <a:cs typeface="IBM Plex Sans" charset="0"/>
        </a:defRPr>
      </a:lvl2pPr>
      <a:lvl3pPr marL="913554" indent="-376419" algn="l" rtl="0" eaLnBrk="1" fontAlgn="base" hangingPunct="1">
        <a:lnSpc>
          <a:spcPct val="100000"/>
        </a:lnSpc>
        <a:spcBef>
          <a:spcPts val="2931"/>
        </a:spcBef>
        <a:spcAft>
          <a:spcPct val="0"/>
        </a:spcAft>
        <a:buClr>
          <a:schemeClr val="bg1"/>
        </a:buClr>
        <a:buSzPct val="100000"/>
        <a:buFont typeface="Arial" panose="020B0604020202020204" pitchFamily="34" charset="0"/>
        <a:buChar char="•"/>
        <a:tabLst/>
        <a:defRPr sz="3730">
          <a:solidFill>
            <a:schemeClr val="bg1"/>
          </a:solidFill>
          <a:latin typeface="IBM Plex Sans" charset="0"/>
          <a:ea typeface="IBM Plex Sans" charset="0"/>
          <a:cs typeface="IBM Plex Sans" charset="0"/>
        </a:defRPr>
      </a:lvl3pPr>
      <a:lvl4pPr marL="1674849" indent="-515989" algn="l" rtl="0" eaLnBrk="1" fontAlgn="base" hangingPunct="1">
        <a:lnSpc>
          <a:spcPct val="100000"/>
        </a:lnSpc>
        <a:spcBef>
          <a:spcPts val="2931"/>
        </a:spcBef>
        <a:spcAft>
          <a:spcPct val="0"/>
        </a:spcAft>
        <a:buClr>
          <a:schemeClr val="bg1"/>
        </a:buClr>
        <a:buSzPct val="100000"/>
        <a:buFont typeface=".AppleSystemUIFont" charset="-120"/>
        <a:buChar char="–"/>
        <a:tabLst/>
        <a:defRPr sz="3730" baseline="0">
          <a:solidFill>
            <a:schemeClr val="bg1"/>
          </a:solidFill>
          <a:latin typeface="IBM Plex Sans" charset="0"/>
          <a:ea typeface="IBM Plex Sans" charset="0"/>
          <a:cs typeface="IBM Plex Sans" charset="0"/>
        </a:defRPr>
      </a:lvl4pPr>
      <a:lvl5pPr marL="2140085" indent="-456777" algn="l" rtl="0" eaLnBrk="1" fontAlgn="base" hangingPunct="1">
        <a:lnSpc>
          <a:spcPct val="100000"/>
        </a:lnSpc>
        <a:spcBef>
          <a:spcPts val="2931"/>
        </a:spcBef>
        <a:spcAft>
          <a:spcPct val="0"/>
        </a:spcAft>
        <a:buClr>
          <a:schemeClr val="bg1"/>
        </a:buClr>
        <a:buFont typeface=".AppleSystemUIFont" charset="-120"/>
        <a:buChar char="»"/>
        <a:tabLst/>
        <a:defRPr sz="3730">
          <a:solidFill>
            <a:schemeClr val="bg1"/>
          </a:solidFill>
          <a:latin typeface="IBM Plex Sans" charset="0"/>
          <a:ea typeface="IBM Plex Sans" charset="0"/>
          <a:cs typeface="IBM Plex Sans" charset="0"/>
        </a:defRPr>
      </a:lvl5pPr>
      <a:lvl6pPr marL="4219296" indent="-345461" algn="l" rtl="0" eaLnBrk="1" fontAlgn="base" hangingPunct="1">
        <a:spcBef>
          <a:spcPct val="20000"/>
        </a:spcBef>
        <a:spcAft>
          <a:spcPct val="0"/>
        </a:spcAft>
        <a:buClr>
          <a:schemeClr val="bg1"/>
        </a:buClr>
        <a:buChar char="»"/>
        <a:defRPr sz="3381">
          <a:solidFill>
            <a:schemeClr val="bg1"/>
          </a:solidFill>
          <a:latin typeface="Arial" charset="0"/>
        </a:defRPr>
      </a:lvl6pPr>
      <a:lvl7pPr marL="5185242" indent="-345461" algn="l" rtl="0" eaLnBrk="1" fontAlgn="base" hangingPunct="1">
        <a:spcBef>
          <a:spcPct val="20000"/>
        </a:spcBef>
        <a:spcAft>
          <a:spcPct val="0"/>
        </a:spcAft>
        <a:buClr>
          <a:schemeClr val="bg1"/>
        </a:buClr>
        <a:buChar char="»"/>
        <a:defRPr sz="3381">
          <a:solidFill>
            <a:schemeClr val="bg1"/>
          </a:solidFill>
          <a:latin typeface="Arial" charset="0"/>
        </a:defRPr>
      </a:lvl7pPr>
      <a:lvl8pPr marL="6151188" indent="-345461" algn="l" rtl="0" eaLnBrk="1" fontAlgn="base" hangingPunct="1">
        <a:spcBef>
          <a:spcPct val="20000"/>
        </a:spcBef>
        <a:spcAft>
          <a:spcPct val="0"/>
        </a:spcAft>
        <a:buClr>
          <a:schemeClr val="bg1"/>
        </a:buClr>
        <a:buChar char="»"/>
        <a:defRPr sz="3381">
          <a:solidFill>
            <a:schemeClr val="bg1"/>
          </a:solidFill>
          <a:latin typeface="Arial" charset="0"/>
        </a:defRPr>
      </a:lvl8pPr>
      <a:lvl9pPr marL="7117133" indent="-345461" algn="l" rtl="0" eaLnBrk="1" fontAlgn="base" hangingPunct="1">
        <a:spcBef>
          <a:spcPct val="20000"/>
        </a:spcBef>
        <a:spcAft>
          <a:spcPct val="0"/>
        </a:spcAft>
        <a:buClr>
          <a:schemeClr val="bg1"/>
        </a:buClr>
        <a:buChar char="»"/>
        <a:defRPr sz="3381">
          <a:solidFill>
            <a:schemeClr val="bg1"/>
          </a:solidFill>
          <a:latin typeface="Arial" charset="0"/>
        </a:defRPr>
      </a:lvl9pPr>
    </p:bodyStyle>
    <p:otherStyle>
      <a:defPPr>
        <a:defRPr lang="en-US"/>
      </a:defPPr>
      <a:lvl1pPr marL="0" algn="l" defTabSz="1931891" rtl="0" eaLnBrk="1" latinLnBrk="0" hangingPunct="1">
        <a:defRPr sz="3804" kern="1200">
          <a:solidFill>
            <a:schemeClr val="tx1"/>
          </a:solidFill>
          <a:latin typeface="+mn-lt"/>
          <a:ea typeface="+mn-ea"/>
          <a:cs typeface="+mn-cs"/>
        </a:defRPr>
      </a:lvl1pPr>
      <a:lvl2pPr marL="965943" algn="l" defTabSz="1931891" rtl="0" eaLnBrk="1" latinLnBrk="0" hangingPunct="1">
        <a:defRPr sz="3804" kern="1200">
          <a:solidFill>
            <a:schemeClr val="tx1"/>
          </a:solidFill>
          <a:latin typeface="+mn-lt"/>
          <a:ea typeface="+mn-ea"/>
          <a:cs typeface="+mn-cs"/>
        </a:defRPr>
      </a:lvl2pPr>
      <a:lvl3pPr marL="1931891" algn="l" defTabSz="1931891" rtl="0" eaLnBrk="1" latinLnBrk="0" hangingPunct="1">
        <a:defRPr sz="3804" kern="1200">
          <a:solidFill>
            <a:schemeClr val="tx1"/>
          </a:solidFill>
          <a:latin typeface="+mn-lt"/>
          <a:ea typeface="+mn-ea"/>
          <a:cs typeface="+mn-cs"/>
        </a:defRPr>
      </a:lvl3pPr>
      <a:lvl4pPr marL="2897832" algn="l" defTabSz="1931891" rtl="0" eaLnBrk="1" latinLnBrk="0" hangingPunct="1">
        <a:defRPr sz="3804" kern="1200">
          <a:solidFill>
            <a:schemeClr val="tx1"/>
          </a:solidFill>
          <a:latin typeface="+mn-lt"/>
          <a:ea typeface="+mn-ea"/>
          <a:cs typeface="+mn-cs"/>
        </a:defRPr>
      </a:lvl4pPr>
      <a:lvl5pPr marL="3863777" algn="l" defTabSz="1931891" rtl="0" eaLnBrk="1" latinLnBrk="0" hangingPunct="1">
        <a:defRPr sz="3804" kern="1200">
          <a:solidFill>
            <a:schemeClr val="tx1"/>
          </a:solidFill>
          <a:latin typeface="+mn-lt"/>
          <a:ea typeface="+mn-ea"/>
          <a:cs typeface="+mn-cs"/>
        </a:defRPr>
      </a:lvl5pPr>
      <a:lvl6pPr marL="4829723" algn="l" defTabSz="1931891" rtl="0" eaLnBrk="1" latinLnBrk="0" hangingPunct="1">
        <a:defRPr sz="3804" kern="1200">
          <a:solidFill>
            <a:schemeClr val="tx1"/>
          </a:solidFill>
          <a:latin typeface="+mn-lt"/>
          <a:ea typeface="+mn-ea"/>
          <a:cs typeface="+mn-cs"/>
        </a:defRPr>
      </a:lvl6pPr>
      <a:lvl7pPr marL="5795666" algn="l" defTabSz="1931891" rtl="0" eaLnBrk="1" latinLnBrk="0" hangingPunct="1">
        <a:defRPr sz="3804" kern="1200">
          <a:solidFill>
            <a:schemeClr val="tx1"/>
          </a:solidFill>
          <a:latin typeface="+mn-lt"/>
          <a:ea typeface="+mn-ea"/>
          <a:cs typeface="+mn-cs"/>
        </a:defRPr>
      </a:lvl7pPr>
      <a:lvl8pPr marL="6761609" algn="l" defTabSz="1931891" rtl="0" eaLnBrk="1" latinLnBrk="0" hangingPunct="1">
        <a:defRPr sz="3804" kern="1200">
          <a:solidFill>
            <a:schemeClr val="tx1"/>
          </a:solidFill>
          <a:latin typeface="+mn-lt"/>
          <a:ea typeface="+mn-ea"/>
          <a:cs typeface="+mn-cs"/>
        </a:defRPr>
      </a:lvl8pPr>
      <a:lvl9pPr marL="7727555" algn="l" defTabSz="1931891" rtl="0" eaLnBrk="1" latinLnBrk="0" hangingPunct="1">
        <a:defRPr sz="38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832" y="536449"/>
            <a:ext cx="11045952" cy="11452352"/>
          </a:xfrm>
          <a:prstGeom prst="rect">
            <a:avLst/>
          </a:prstGeom>
        </p:spPr>
        <p:txBody>
          <a:bodyPr vert="horz" lIns="0" tIns="0" rIns="0" bIns="0" rtlCol="0" anchor="t">
            <a:noAutofit/>
          </a:bodyPr>
          <a:lstStyle/>
          <a:p>
            <a:r>
              <a:rPr lang="en-GB"/>
              <a:t>Click to edit Master title style</a:t>
            </a:r>
            <a:endParaRPr lang="en-US" dirty="0"/>
          </a:p>
        </p:txBody>
      </p:sp>
      <p:sp>
        <p:nvSpPr>
          <p:cNvPr id="5" name="Text Placeholder"/>
          <p:cNvSpPr>
            <a:spLocks noGrp="1"/>
          </p:cNvSpPr>
          <p:nvPr>
            <p:ph type="body" idx="1"/>
          </p:nvPr>
        </p:nvSpPr>
        <p:spPr>
          <a:xfrm>
            <a:off x="12777216" y="536449"/>
            <a:ext cx="10997184" cy="1145235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Footer Placeholder"/>
          <p:cNvSpPr>
            <a:spLocks noGrp="1"/>
          </p:cNvSpPr>
          <p:nvPr>
            <p:ph type="ftr" sz="quarter" idx="3"/>
          </p:nvPr>
        </p:nvSpPr>
        <p:spPr>
          <a:xfrm>
            <a:off x="609777" y="12767735"/>
            <a:ext cx="10972627" cy="444499"/>
          </a:xfrm>
          <a:prstGeom prst="rect">
            <a:avLst/>
          </a:prstGeom>
        </p:spPr>
        <p:txBody>
          <a:bodyPr vert="horz" lIns="0" tIns="0" rIns="0" bIns="0" rtlCol="0" anchor="ctr"/>
          <a:lstStyle>
            <a:lvl1pPr marL="0" marR="0" indent="0" algn="l" defTabSz="1827620" rtl="0" eaLnBrk="1" fontAlgn="auto" latinLnBrk="0" hangingPunct="1">
              <a:lnSpc>
                <a:spcPct val="100000"/>
              </a:lnSpc>
              <a:spcBef>
                <a:spcPts val="0"/>
              </a:spcBef>
              <a:spcAft>
                <a:spcPts val="0"/>
              </a:spcAft>
              <a:buClrTx/>
              <a:buSzTx/>
              <a:buFontTx/>
              <a:buNone/>
              <a:tabLst/>
              <a:defRPr sz="1599">
                <a:solidFill>
                  <a:schemeClr val="bg1"/>
                </a:solidFill>
                <a:latin typeface="IBM Plex Sans" panose="020B0503050203000203" pitchFamily="34" charset="0"/>
              </a:defRPr>
            </a:lvl1pPr>
          </a:lstStyle>
          <a:p>
            <a:r>
              <a:rPr lang="en-US"/>
              <a:t>IBM Cloud / May 2021/ © 2021 IBM Corporation</a:t>
            </a:r>
            <a:endParaRPr lang="en-US" dirty="0"/>
          </a:p>
        </p:txBody>
      </p:sp>
      <p:sp>
        <p:nvSpPr>
          <p:cNvPr id="8" name="Slide Number Placeholder"/>
          <p:cNvSpPr>
            <a:spLocks noGrp="1"/>
          </p:cNvSpPr>
          <p:nvPr>
            <p:ph type="sldNum" sz="quarter" idx="4"/>
          </p:nvPr>
        </p:nvSpPr>
        <p:spPr>
          <a:xfrm>
            <a:off x="18897603" y="12767735"/>
            <a:ext cx="4876619" cy="444499"/>
          </a:xfrm>
          <a:prstGeom prst="rect">
            <a:avLst/>
          </a:prstGeom>
        </p:spPr>
        <p:txBody>
          <a:bodyPr vert="horz" lIns="0" tIns="0" rIns="0" bIns="0" rtlCol="0" anchor="ctr"/>
          <a:lstStyle>
            <a:lvl1pPr algn="r">
              <a:defRPr sz="1599">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292613" y="-294641"/>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821109865"/>
      </p:ext>
    </p:extLst>
  </p:cSld>
  <p:clrMap bg1="dk1" tx1="lt1" bg2="dk2" tx2="lt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Lst>
  <p:hf hdr="0" dt="0"/>
  <p:txStyles>
    <p:titleStyle>
      <a:lvl1pPr algn="l" rtl="0" eaLnBrk="1" fontAlgn="base" hangingPunct="1">
        <a:lnSpc>
          <a:spcPct val="90000"/>
        </a:lnSpc>
        <a:spcBef>
          <a:spcPct val="0"/>
        </a:spcBef>
        <a:spcAft>
          <a:spcPct val="0"/>
        </a:spcAft>
        <a:defRPr sz="6394"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54"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915"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69"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825" algn="l" rtl="0" eaLnBrk="1" fontAlgn="base" hangingPunct="1">
        <a:lnSpc>
          <a:spcPct val="90000"/>
        </a:lnSpc>
        <a:spcBef>
          <a:spcPct val="0"/>
        </a:spcBef>
        <a:spcAft>
          <a:spcPct val="0"/>
        </a:spcAft>
        <a:defRPr sz="5915">
          <a:solidFill>
            <a:srgbClr val="191919"/>
          </a:solidFill>
          <a:latin typeface="HelvNeue Light for IBM" pitchFamily="34" charset="0"/>
        </a:defRPr>
      </a:lvl9pPr>
    </p:titleStyle>
    <p:bodyStyle>
      <a:lvl1pPr marL="0" indent="0" algn="l" rtl="0" eaLnBrk="1" fontAlgn="base" hangingPunct="1">
        <a:lnSpc>
          <a:spcPct val="100000"/>
        </a:lnSpc>
        <a:spcBef>
          <a:spcPts val="2931"/>
        </a:spcBef>
        <a:spcAft>
          <a:spcPct val="0"/>
        </a:spcAft>
        <a:buClr>
          <a:srgbClr val="6D6E70"/>
        </a:buClr>
        <a:buSzPct val="90000"/>
        <a:buFont typeface="Wingdings" pitchFamily="2" charset="2"/>
        <a:buNone/>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456782" indent="-462867" algn="l" rtl="0" eaLnBrk="1" fontAlgn="base" hangingPunct="1">
        <a:lnSpc>
          <a:spcPct val="100000"/>
        </a:lnSpc>
        <a:spcBef>
          <a:spcPts val="2931"/>
        </a:spcBef>
        <a:spcAft>
          <a:spcPct val="0"/>
        </a:spcAft>
        <a:buClr>
          <a:schemeClr val="bg1"/>
        </a:buClr>
        <a:buSzPct val="100000"/>
        <a:buFont typeface=".AppleSystemUIFont" charset="-120"/>
        <a:buChar char="–"/>
        <a:tabLst/>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913568" indent="-462867" algn="l" rtl="0" eaLnBrk="1" fontAlgn="base" hangingPunct="1">
        <a:lnSpc>
          <a:spcPct val="100000"/>
        </a:lnSpc>
        <a:spcBef>
          <a:spcPts val="2931"/>
        </a:spcBef>
        <a:spcAft>
          <a:spcPct val="0"/>
        </a:spcAft>
        <a:buClr>
          <a:schemeClr val="bg1"/>
        </a:buClr>
        <a:buSzPct val="100000"/>
        <a:buFont typeface="Arial" panose="020B0604020202020204" pitchFamily="34" charset="0"/>
        <a:buChar char="•"/>
        <a:tabLst/>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1674871" indent="-462867" algn="l" rtl="0" eaLnBrk="1" fontAlgn="base" hangingPunct="1">
        <a:lnSpc>
          <a:spcPct val="100000"/>
        </a:lnSpc>
        <a:spcBef>
          <a:spcPts val="2931"/>
        </a:spcBef>
        <a:spcAft>
          <a:spcPct val="0"/>
        </a:spcAft>
        <a:buClr>
          <a:schemeClr val="bg1"/>
        </a:buClr>
        <a:buSzPct val="100000"/>
        <a:buFont typeface=".AppleSystemUIFont" charset="-120"/>
        <a:buChar char="–"/>
        <a:tabLst/>
        <a:defRPr sz="373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2140112" indent="-462867" algn="l" rtl="0" eaLnBrk="1" fontAlgn="base" hangingPunct="1">
        <a:lnSpc>
          <a:spcPct val="100000"/>
        </a:lnSpc>
        <a:spcBef>
          <a:spcPts val="2931"/>
        </a:spcBef>
        <a:spcAft>
          <a:spcPct val="0"/>
        </a:spcAft>
        <a:buClr>
          <a:schemeClr val="bg1"/>
        </a:buClr>
        <a:buFont typeface=".AppleSystemUIFont" charset="-120"/>
        <a:buChar char="»"/>
        <a:tabLst/>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4219349" indent="-345467" algn="l" rtl="0" eaLnBrk="1" fontAlgn="base" hangingPunct="1">
        <a:spcBef>
          <a:spcPct val="20000"/>
        </a:spcBef>
        <a:spcAft>
          <a:spcPct val="0"/>
        </a:spcAft>
        <a:buClr>
          <a:schemeClr val="bg1"/>
        </a:buClr>
        <a:buChar char="»"/>
        <a:defRPr sz="3381">
          <a:solidFill>
            <a:schemeClr val="bg1"/>
          </a:solidFill>
          <a:latin typeface="Arial" charset="0"/>
        </a:defRPr>
      </a:lvl6pPr>
      <a:lvl7pPr marL="5185308" indent="-345467" algn="l" rtl="0" eaLnBrk="1" fontAlgn="base" hangingPunct="1">
        <a:spcBef>
          <a:spcPct val="20000"/>
        </a:spcBef>
        <a:spcAft>
          <a:spcPct val="0"/>
        </a:spcAft>
        <a:buClr>
          <a:schemeClr val="bg1"/>
        </a:buClr>
        <a:buChar char="»"/>
        <a:defRPr sz="3381">
          <a:solidFill>
            <a:schemeClr val="bg1"/>
          </a:solidFill>
          <a:latin typeface="Arial" charset="0"/>
        </a:defRPr>
      </a:lvl7pPr>
      <a:lvl8pPr marL="6151265" indent="-345467" algn="l" rtl="0" eaLnBrk="1" fontAlgn="base" hangingPunct="1">
        <a:spcBef>
          <a:spcPct val="20000"/>
        </a:spcBef>
        <a:spcAft>
          <a:spcPct val="0"/>
        </a:spcAft>
        <a:buClr>
          <a:schemeClr val="bg1"/>
        </a:buClr>
        <a:buChar char="»"/>
        <a:defRPr sz="3381">
          <a:solidFill>
            <a:schemeClr val="bg1"/>
          </a:solidFill>
          <a:latin typeface="Arial" charset="0"/>
        </a:defRPr>
      </a:lvl8pPr>
      <a:lvl9pPr marL="7117224" indent="-345467" algn="l" rtl="0" eaLnBrk="1" fontAlgn="base" hangingPunct="1">
        <a:spcBef>
          <a:spcPct val="20000"/>
        </a:spcBef>
        <a:spcAft>
          <a:spcPct val="0"/>
        </a:spcAft>
        <a:buClr>
          <a:schemeClr val="bg1"/>
        </a:buClr>
        <a:buChar char="»"/>
        <a:defRPr sz="3381">
          <a:solidFill>
            <a:schemeClr val="bg1"/>
          </a:solidFill>
          <a:latin typeface="Arial" charset="0"/>
        </a:defRPr>
      </a:lvl9pPr>
    </p:bodyStyle>
    <p:otherStyle>
      <a:defPPr>
        <a:defRPr lang="en-US"/>
      </a:defPPr>
      <a:lvl1pPr marL="0" algn="l" defTabSz="1931915" rtl="0" eaLnBrk="1" latinLnBrk="0" hangingPunct="1">
        <a:defRPr sz="3804" kern="1200">
          <a:solidFill>
            <a:schemeClr val="tx1"/>
          </a:solidFill>
          <a:latin typeface="+mn-lt"/>
          <a:ea typeface="+mn-ea"/>
          <a:cs typeface="+mn-cs"/>
        </a:defRPr>
      </a:lvl1pPr>
      <a:lvl2pPr marL="965954" algn="l" defTabSz="1931915" rtl="0" eaLnBrk="1" latinLnBrk="0" hangingPunct="1">
        <a:defRPr sz="3804" kern="1200">
          <a:solidFill>
            <a:schemeClr val="tx1"/>
          </a:solidFill>
          <a:latin typeface="+mn-lt"/>
          <a:ea typeface="+mn-ea"/>
          <a:cs typeface="+mn-cs"/>
        </a:defRPr>
      </a:lvl2pPr>
      <a:lvl3pPr marL="1931915" algn="l" defTabSz="1931915" rtl="0" eaLnBrk="1" latinLnBrk="0" hangingPunct="1">
        <a:defRPr sz="3804" kern="1200">
          <a:solidFill>
            <a:schemeClr val="tx1"/>
          </a:solidFill>
          <a:latin typeface="+mn-lt"/>
          <a:ea typeface="+mn-ea"/>
          <a:cs typeface="+mn-cs"/>
        </a:defRPr>
      </a:lvl3pPr>
      <a:lvl4pPr marL="2897869" algn="l" defTabSz="1931915" rtl="0" eaLnBrk="1" latinLnBrk="0" hangingPunct="1">
        <a:defRPr sz="3804" kern="1200">
          <a:solidFill>
            <a:schemeClr val="tx1"/>
          </a:solidFill>
          <a:latin typeface="+mn-lt"/>
          <a:ea typeface="+mn-ea"/>
          <a:cs typeface="+mn-cs"/>
        </a:defRPr>
      </a:lvl4pPr>
      <a:lvl5pPr marL="3863825" algn="l" defTabSz="1931915" rtl="0" eaLnBrk="1" latinLnBrk="0" hangingPunct="1">
        <a:defRPr sz="3804" kern="1200">
          <a:solidFill>
            <a:schemeClr val="tx1"/>
          </a:solidFill>
          <a:latin typeface="+mn-lt"/>
          <a:ea typeface="+mn-ea"/>
          <a:cs typeface="+mn-cs"/>
        </a:defRPr>
      </a:lvl5pPr>
      <a:lvl6pPr marL="4829784" algn="l" defTabSz="1931915" rtl="0" eaLnBrk="1" latinLnBrk="0" hangingPunct="1">
        <a:defRPr sz="3804" kern="1200">
          <a:solidFill>
            <a:schemeClr val="tx1"/>
          </a:solidFill>
          <a:latin typeface="+mn-lt"/>
          <a:ea typeface="+mn-ea"/>
          <a:cs typeface="+mn-cs"/>
        </a:defRPr>
      </a:lvl6pPr>
      <a:lvl7pPr marL="5795738" algn="l" defTabSz="1931915" rtl="0" eaLnBrk="1" latinLnBrk="0" hangingPunct="1">
        <a:defRPr sz="3804" kern="1200">
          <a:solidFill>
            <a:schemeClr val="tx1"/>
          </a:solidFill>
          <a:latin typeface="+mn-lt"/>
          <a:ea typeface="+mn-ea"/>
          <a:cs typeface="+mn-cs"/>
        </a:defRPr>
      </a:lvl7pPr>
      <a:lvl8pPr marL="6761694" algn="l" defTabSz="1931915" rtl="0" eaLnBrk="1" latinLnBrk="0" hangingPunct="1">
        <a:defRPr sz="3804" kern="1200">
          <a:solidFill>
            <a:schemeClr val="tx1"/>
          </a:solidFill>
          <a:latin typeface="+mn-lt"/>
          <a:ea typeface="+mn-ea"/>
          <a:cs typeface="+mn-cs"/>
        </a:defRPr>
      </a:lvl8pPr>
      <a:lvl9pPr marL="7727651" algn="l" defTabSz="1931915" rtl="0" eaLnBrk="1" latinLnBrk="0" hangingPunct="1">
        <a:defRPr sz="38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DDFBCDB-75F1-4094-9065-57A78BD1F5C3}"/>
              </a:ext>
            </a:extLst>
          </p:cNvPr>
          <p:cNvGraphicFramePr>
            <a:graphicFrameLocks noChangeAspect="1"/>
          </p:cNvGraphicFramePr>
          <p:nvPr userDrawn="1">
            <p:custDataLst>
              <p:tags r:id="rId39"/>
            </p:custDataLst>
          </p:nvPr>
        </p:nvGraphicFramePr>
        <p:xfrm>
          <a:off x="4237" y="4237"/>
          <a:ext cx="4234" cy="4234"/>
        </p:xfrm>
        <a:graphic>
          <a:graphicData uri="http://schemas.openxmlformats.org/presentationml/2006/ole">
            <mc:AlternateContent xmlns:mc="http://schemas.openxmlformats.org/markup-compatibility/2006">
              <mc:Choice xmlns:v="urn:schemas-microsoft-com:vml" Requires="v">
                <p:oleObj name="think-cell Slide" r:id="rId41" imgW="395" imgH="396" progId="TCLayout.ActiveDocument.1">
                  <p:embed/>
                </p:oleObj>
              </mc:Choice>
              <mc:Fallback>
                <p:oleObj name="think-cell Slide" r:id="rId41" imgW="395" imgH="396" progId="TCLayout.ActiveDocument.1">
                  <p:embed/>
                  <p:pic>
                    <p:nvPicPr>
                      <p:cNvPr id="9" name="Object 8" hidden="1">
                        <a:extLst>
                          <a:ext uri="{FF2B5EF4-FFF2-40B4-BE49-F238E27FC236}">
                            <a16:creationId xmlns:a16="http://schemas.microsoft.com/office/drawing/2014/main" id="{BDDFBCDB-75F1-4094-9065-57A78BD1F5C3}"/>
                          </a:ext>
                        </a:extLst>
                      </p:cNvPr>
                      <p:cNvPicPr/>
                      <p:nvPr/>
                    </p:nvPicPr>
                    <p:blipFill>
                      <a:blip r:embed="rId42"/>
                      <a:stretch>
                        <a:fillRect/>
                      </a:stretch>
                    </p:blipFill>
                    <p:spPr>
                      <a:xfrm>
                        <a:off x="4237" y="4237"/>
                        <a:ext cx="4234" cy="4234"/>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9D6FB7-3B97-4732-AD61-F095D38F3015}"/>
              </a:ext>
            </a:extLst>
          </p:cNvPr>
          <p:cNvSpPr/>
          <p:nvPr userDrawn="1">
            <p:custDataLst>
              <p:tags r:id="rId40"/>
            </p:custDataLst>
          </p:nvPr>
        </p:nvSpPr>
        <p:spPr bwMode="auto">
          <a:xfrm>
            <a:off x="1" y="1"/>
            <a:ext cx="423334" cy="423334"/>
          </a:xfrm>
          <a:prstGeom prst="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spcCol="0" rtlCol="0" anchor="t" anchorCtr="0" compatLnSpc="1">
            <a:prstTxWarp prst="textNoShape">
              <a:avLst/>
            </a:prstTxWarp>
            <a:noAutofit/>
          </a:bodyPr>
          <a:lstStyle/>
          <a:p>
            <a:pPr marL="0" marR="0" lvl="0" indent="0" algn="l" defTabSz="1829242" rtl="0" eaLnBrk="1" fontAlgn="auto" latinLnBrk="0" hangingPunct="1">
              <a:lnSpc>
                <a:spcPct val="100000"/>
              </a:lnSpc>
              <a:spcBef>
                <a:spcPts val="0"/>
              </a:spcBef>
              <a:spcAft>
                <a:spcPts val="0"/>
              </a:spcAft>
              <a:buClrTx/>
              <a:buSzTx/>
              <a:buFontTx/>
              <a:buNone/>
              <a:tabLst/>
            </a:pPr>
            <a:endParaRPr kumimoji="0" lang="en-US" sz="6400" b="0" i="0" u="none" strike="noStrike" kern="1200" cap="none" spc="0" normalizeH="0" baseline="0" noProof="0" dirty="0">
              <a:ln>
                <a:noFill/>
              </a:ln>
              <a:solidFill>
                <a:schemeClr val="tx1"/>
              </a:solidFill>
              <a:effectLst/>
              <a:uLnTx/>
              <a:uFillTx/>
              <a:latin typeface="IBM Plex Sans" panose="020B0503050203000203" pitchFamily="34" charset="0"/>
              <a:ea typeface="IBM Plex Sans" charset="0"/>
              <a:cs typeface="Arial" panose="020B0604020202020204" pitchFamily="34" charset="0"/>
              <a:sym typeface="Arial" panose="020B0604020202020204" pitchFamily="34" charset="0"/>
            </a:endParaRPr>
          </a:p>
        </p:txBody>
      </p:sp>
      <p:sp>
        <p:nvSpPr>
          <p:cNvPr id="4" name="Title Placeholder"/>
          <p:cNvSpPr>
            <a:spLocks noGrp="1"/>
          </p:cNvSpPr>
          <p:nvPr>
            <p:ph type="title"/>
          </p:nvPr>
        </p:nvSpPr>
        <p:spPr>
          <a:xfrm>
            <a:off x="560832" y="536448"/>
            <a:ext cx="11045952"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7216" y="536448"/>
            <a:ext cx="10997184" cy="114523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609779" y="12767737"/>
            <a:ext cx="10972626"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bg1"/>
                </a:solidFill>
                <a:latin typeface="IBM Plex Sans" panose="020B0503050203000203" pitchFamily="34" charset="0"/>
              </a:defRPr>
            </a:lvl1pPr>
          </a:lstStyle>
          <a:p>
            <a:r>
              <a:rPr lang="en-US" dirty="0"/>
              <a:t>Group Name / DOC ID / Month XX, 2020 / © 2020 IBM Corporation</a:t>
            </a:r>
          </a:p>
        </p:txBody>
      </p:sp>
      <p:sp>
        <p:nvSpPr>
          <p:cNvPr id="8" name="Slide Number Placeholder"/>
          <p:cNvSpPr>
            <a:spLocks noGrp="1"/>
          </p:cNvSpPr>
          <p:nvPr>
            <p:ph type="sldNum" sz="quarter" idx="4"/>
          </p:nvPr>
        </p:nvSpPr>
        <p:spPr>
          <a:xfrm>
            <a:off x="18897605" y="12767737"/>
            <a:ext cx="4876618" cy="444498"/>
          </a:xfrm>
          <a:prstGeom prst="rect">
            <a:avLst/>
          </a:prstGeom>
        </p:spPr>
        <p:txBody>
          <a:bodyPr vert="horz" lIns="0" tIns="0" rIns="0" bIns="0" rtlCol="0" anchor="ctr"/>
          <a:lstStyle>
            <a:lvl1pPr algn="r">
              <a:defRPr sz="1600" b="0" i="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292613" y="-294640"/>
            <a:ext cx="24971254"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439962856"/>
      </p:ext>
    </p:extLst>
  </p:cSld>
  <p:clrMap bg1="dk1" tx1="lt1" bg2="dk2" tx2="lt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 id="2147483786" r:id="rId34"/>
    <p:sldLayoutId id="2147483787" r:id="rId35"/>
    <p:sldLayoutId id="2147483788" r:id="rId36"/>
    <p:sldLayoutId id="2147483791" r:id="rId37"/>
  </p:sldLayoutIdLst>
  <p:hf hdr="0" dt="0"/>
  <p:txStyles>
    <p:titleStyle>
      <a:lvl1pPr algn="l" rtl="0" eaLnBrk="1" fontAlgn="base" hangingPunct="1">
        <a:lnSpc>
          <a:spcPct val="90000"/>
        </a:lnSpc>
        <a:spcBef>
          <a:spcPct val="0"/>
        </a:spcBef>
        <a:spcAft>
          <a:spcPct val="0"/>
        </a:spcAft>
        <a:defRPr sz="6400"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IBM Plex Sans" pitchFamily="34" charset="0"/>
        </a:defRPr>
      </a:lvl2pPr>
      <a:lvl3pPr algn="l" rtl="0" eaLnBrk="1" fontAlgn="base" hangingPunct="1">
        <a:lnSpc>
          <a:spcPct val="90000"/>
        </a:lnSpc>
        <a:spcBef>
          <a:spcPct val="0"/>
        </a:spcBef>
        <a:spcAft>
          <a:spcPct val="0"/>
        </a:spcAft>
        <a:defRPr sz="5920">
          <a:solidFill>
            <a:srgbClr val="191919"/>
          </a:solidFill>
          <a:latin typeface="IBM Plex Sans" pitchFamily="34" charset="0"/>
        </a:defRPr>
      </a:lvl3pPr>
      <a:lvl4pPr algn="l" rtl="0" eaLnBrk="1" fontAlgn="base" hangingPunct="1">
        <a:lnSpc>
          <a:spcPct val="90000"/>
        </a:lnSpc>
        <a:spcBef>
          <a:spcPct val="0"/>
        </a:spcBef>
        <a:spcAft>
          <a:spcPct val="0"/>
        </a:spcAft>
        <a:defRPr sz="5920">
          <a:solidFill>
            <a:srgbClr val="191919"/>
          </a:solidFill>
          <a:latin typeface="IBM Plex Sans" pitchFamily="34" charset="0"/>
        </a:defRPr>
      </a:lvl4pPr>
      <a:lvl5pPr algn="l" rtl="0" eaLnBrk="1" fontAlgn="base" hangingPunct="1">
        <a:lnSpc>
          <a:spcPct val="90000"/>
        </a:lnSpc>
        <a:spcBef>
          <a:spcPct val="0"/>
        </a:spcBef>
        <a:spcAft>
          <a:spcPct val="0"/>
        </a:spcAft>
        <a:defRPr sz="5920">
          <a:solidFill>
            <a:srgbClr val="191919"/>
          </a:solidFill>
          <a:latin typeface="IBM Plex Sans"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pitchFamily="34" charset="0"/>
        </a:defRPr>
      </a:lvl9pPr>
    </p:titleStyle>
    <p:bodyStyle>
      <a:lvl1pPr marL="0" indent="0" algn="l" rtl="0" eaLnBrk="1" fontAlgn="base" hangingPunct="1">
        <a:lnSpc>
          <a:spcPct val="100000"/>
        </a:lnSpc>
        <a:spcBef>
          <a:spcPts val="2934"/>
        </a:spcBef>
        <a:spcAft>
          <a:spcPct val="0"/>
        </a:spcAft>
        <a:buClr>
          <a:srgbClr val="6D6E70"/>
        </a:buClr>
        <a:buSzPct val="90000"/>
        <a:buFont typeface="IBM Plex Sans" pitchFamily="2" charset="2"/>
        <a:buNone/>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marL="457194" indent="-463284" algn="l" rtl="0" eaLnBrk="1" fontAlgn="base" hangingPunct="1">
        <a:lnSpc>
          <a:spcPct val="100000"/>
        </a:lnSpc>
        <a:spcBef>
          <a:spcPts val="2934"/>
        </a:spcBef>
        <a:spcAft>
          <a:spcPct val="0"/>
        </a:spcAft>
        <a:buClr>
          <a:schemeClr val="bg1"/>
        </a:buClr>
        <a:buSzPct val="100000"/>
        <a:buFont typeface="IBM Plex Sans" charset="-120"/>
        <a:buChar char="–"/>
        <a:tabLst/>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2pPr>
      <a:lvl3pPr marL="914390" indent="-463284" algn="l" rtl="0" eaLnBrk="1" fontAlgn="base" hangingPunct="1">
        <a:lnSpc>
          <a:spcPct val="100000"/>
        </a:lnSpc>
        <a:spcBef>
          <a:spcPts val="2934"/>
        </a:spcBef>
        <a:spcAft>
          <a:spcPct val="0"/>
        </a:spcAft>
        <a:buClr>
          <a:schemeClr val="bg1"/>
        </a:buClr>
        <a:buSzPct val="100000"/>
        <a:buFont typeface="Arial" panose="020B0604020202020204" pitchFamily="34" charset="0"/>
        <a:buChar char="•"/>
        <a:tabLst/>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3pPr>
      <a:lvl4pPr marL="1676380" indent="-463284" algn="l" rtl="0" eaLnBrk="1" fontAlgn="base" hangingPunct="1">
        <a:lnSpc>
          <a:spcPct val="100000"/>
        </a:lnSpc>
        <a:spcBef>
          <a:spcPts val="2934"/>
        </a:spcBef>
        <a:spcAft>
          <a:spcPct val="0"/>
        </a:spcAft>
        <a:buClr>
          <a:schemeClr val="bg1"/>
        </a:buClr>
        <a:buSzPct val="100000"/>
        <a:buFont typeface="IBM Plex Sans" charset="-120"/>
        <a:buChar char="–"/>
        <a:tabLst/>
        <a:defRPr sz="3734" b="0" i="0" baseline="0">
          <a:solidFill>
            <a:schemeClr val="bg1"/>
          </a:solidFill>
          <a:latin typeface="IBM Plex Sans" panose="020B0503050203000203" pitchFamily="34" charset="0"/>
          <a:ea typeface="IBM Plex Sans" panose="020B0503050203000203" pitchFamily="34" charset="0"/>
          <a:cs typeface="Arial" panose="020B0604020202020204" pitchFamily="34" charset="0"/>
        </a:defRPr>
      </a:lvl4pPr>
      <a:lvl5pPr marL="2142040" indent="-463284" algn="l" rtl="0" eaLnBrk="1" fontAlgn="base" hangingPunct="1">
        <a:lnSpc>
          <a:spcPct val="100000"/>
        </a:lnSpc>
        <a:spcBef>
          <a:spcPts val="2934"/>
        </a:spcBef>
        <a:spcAft>
          <a:spcPct val="0"/>
        </a:spcAft>
        <a:buClr>
          <a:schemeClr val="bg1"/>
        </a:buClr>
        <a:buFont typeface="IBM Plex Sans" charset="-120"/>
        <a:buChar char="»"/>
        <a:tabLst/>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832" y="536448"/>
            <a:ext cx="11045952"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7216" y="536448"/>
            <a:ext cx="10997184"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779" y="12767737"/>
            <a:ext cx="10972626"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a:solidFill>
                  <a:schemeClr val="tx1"/>
                </a:solidFill>
                <a:latin typeface="IBM Plex Sans" panose="020B0503050203000203" pitchFamily="34" charset="0"/>
              </a:defRPr>
            </a:lvl1pPr>
          </a:lstStyle>
          <a:p>
            <a:r>
              <a:rPr lang="en-US"/>
              <a:t>Group Name / DOC ID / Month XX, 2020 / © 2020 IBM Corporation</a:t>
            </a:r>
            <a:endParaRPr lang="en-US" dirty="0"/>
          </a:p>
        </p:txBody>
      </p:sp>
      <p:sp>
        <p:nvSpPr>
          <p:cNvPr id="8" name="Slide Number Placeholder"/>
          <p:cNvSpPr>
            <a:spLocks noGrp="1"/>
          </p:cNvSpPr>
          <p:nvPr>
            <p:ph type="sldNum" sz="quarter" idx="4"/>
          </p:nvPr>
        </p:nvSpPr>
        <p:spPr>
          <a:xfrm>
            <a:off x="18897605" y="12767737"/>
            <a:ext cx="4876618" cy="444498"/>
          </a:xfrm>
          <a:prstGeom prst="rect">
            <a:avLst/>
          </a:prstGeom>
        </p:spPr>
        <p:txBody>
          <a:bodyPr vert="horz" lIns="0" tIns="0" rIns="0" bIns="0" rtlCol="0" anchor="ctr"/>
          <a:lstStyle>
            <a:lvl1pPr algn="r">
              <a:defRPr sz="160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58" descr="Outside edge tick marks for alignment">
            <a:extLst>
              <a:ext uri="{C183D7F6-B498-43B3-948B-1728B52AA6E4}">
                <adec:decorative xmlns:adec="http://schemas.microsoft.com/office/drawing/2017/decorative" val="0"/>
              </a:ext>
            </a:extLst>
          </p:cNvPr>
          <p:cNvGrpSpPr/>
          <p:nvPr/>
        </p:nvGrpSpPr>
        <p:grpSpPr>
          <a:xfrm>
            <a:off x="-292613" y="-294640"/>
            <a:ext cx="24971254" cy="14305280"/>
            <a:chOff x="-109730" y="-110490"/>
            <a:chExt cx="9364220" cy="5364480"/>
          </a:xfrm>
        </p:grpSpPr>
        <p:grpSp>
          <p:nvGrpSpPr>
            <p:cNvPr id="60" name="Group 59"/>
            <p:cNvGrpSpPr/>
            <p:nvPr/>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422132002"/>
      </p:ext>
    </p:extLst>
  </p:cSld>
  <p:clrMap bg1="dk1" tx1="lt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59" r:id="rId33"/>
    <p:sldLayoutId id="2147484069" r:id="rId34"/>
  </p:sldLayoutIdLst>
  <p:hf hdr="0" dt="0"/>
  <p:txStyles>
    <p:titleStyle>
      <a:lvl1pPr algn="l" rtl="0" eaLnBrk="1" fontAlgn="base" hangingPunct="1">
        <a:lnSpc>
          <a:spcPct val="90000"/>
        </a:lnSpc>
        <a:spcBef>
          <a:spcPct val="0"/>
        </a:spcBef>
        <a:spcAft>
          <a:spcPct val="0"/>
        </a:spcAft>
        <a:defRPr sz="640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pitchFamily="34" charset="0"/>
        </a:defRPr>
      </a:lvl2pPr>
      <a:lvl3pPr algn="l" rtl="0" eaLnBrk="1" fontAlgn="base" hangingPunct="1">
        <a:lnSpc>
          <a:spcPct val="90000"/>
        </a:lnSpc>
        <a:spcBef>
          <a:spcPct val="0"/>
        </a:spcBef>
        <a:spcAft>
          <a:spcPct val="0"/>
        </a:spcAft>
        <a:defRPr sz="5920">
          <a:solidFill>
            <a:srgbClr val="191919"/>
          </a:solidFill>
          <a:latin typeface="IBM Plex Sans" pitchFamily="34" charset="0"/>
        </a:defRPr>
      </a:lvl3pPr>
      <a:lvl4pPr algn="l" rtl="0" eaLnBrk="1" fontAlgn="base" hangingPunct="1">
        <a:lnSpc>
          <a:spcPct val="90000"/>
        </a:lnSpc>
        <a:spcBef>
          <a:spcPct val="0"/>
        </a:spcBef>
        <a:spcAft>
          <a:spcPct val="0"/>
        </a:spcAft>
        <a:defRPr sz="5920">
          <a:solidFill>
            <a:srgbClr val="191919"/>
          </a:solidFill>
          <a:latin typeface="IBM Plex Sans" pitchFamily="34" charset="0"/>
        </a:defRPr>
      </a:lvl4pPr>
      <a:lvl5pPr algn="l" rtl="0" eaLnBrk="1" fontAlgn="base" hangingPunct="1">
        <a:lnSpc>
          <a:spcPct val="90000"/>
        </a:lnSpc>
        <a:spcBef>
          <a:spcPct val="0"/>
        </a:spcBef>
        <a:spcAft>
          <a:spcPct val="0"/>
        </a:spcAft>
        <a:defRPr sz="5920">
          <a:solidFill>
            <a:srgbClr val="191919"/>
          </a:solidFill>
          <a:latin typeface="IBM Plex Sans"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pitchFamily="34" charset="0"/>
        </a:defRPr>
      </a:lvl9pPr>
    </p:titleStyle>
    <p:bodyStyle>
      <a:lvl1pPr marL="0" indent="0" algn="l" rtl="0" eaLnBrk="1" fontAlgn="base" hangingPunct="1">
        <a:lnSpc>
          <a:spcPct val="100000"/>
        </a:lnSpc>
        <a:spcBef>
          <a:spcPts val="2934"/>
        </a:spcBef>
        <a:spcAft>
          <a:spcPct val="0"/>
        </a:spcAft>
        <a:buClr>
          <a:schemeClr val="tx1"/>
        </a:buClr>
        <a:buSzPct val="90000"/>
        <a:buFont typeface="IBM Plex Sans" pitchFamily="2" charset="2"/>
        <a:buNone/>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457194" indent="-463284" algn="l" rtl="0" eaLnBrk="1" fontAlgn="base" hangingPunct="1">
        <a:lnSpc>
          <a:spcPct val="100000"/>
        </a:lnSpc>
        <a:spcBef>
          <a:spcPts val="2934"/>
        </a:spcBef>
        <a:spcAft>
          <a:spcPct val="0"/>
        </a:spcAft>
        <a:buClr>
          <a:schemeClr val="tx1"/>
        </a:buClr>
        <a:buSzPct val="100000"/>
        <a:buFont typeface="IBM Plex Sans" charset="-120"/>
        <a:buChar char="–"/>
        <a:tabLst/>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914390" indent="-463284" algn="l" rtl="0" eaLnBrk="1" fontAlgn="base" hangingPunct="1">
        <a:lnSpc>
          <a:spcPct val="100000"/>
        </a:lnSpc>
        <a:spcBef>
          <a:spcPts val="2934"/>
        </a:spcBef>
        <a:spcAft>
          <a:spcPct val="0"/>
        </a:spcAft>
        <a:buClr>
          <a:schemeClr val="tx1"/>
        </a:buClr>
        <a:buSzPct val="100000"/>
        <a:buFont typeface="IBM Plex Sans" panose="020B0604020202020204" pitchFamily="34" charset="0"/>
        <a:buChar char="•"/>
        <a:tabLst/>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1676380" indent="-463284" algn="l" rtl="0" eaLnBrk="1" fontAlgn="base" hangingPunct="1">
        <a:lnSpc>
          <a:spcPct val="100000"/>
        </a:lnSpc>
        <a:spcBef>
          <a:spcPts val="2934"/>
        </a:spcBef>
        <a:spcAft>
          <a:spcPct val="0"/>
        </a:spcAft>
        <a:buClr>
          <a:schemeClr val="tx1"/>
        </a:buClr>
        <a:buSzPct val="100000"/>
        <a:buFont typeface="IBM Plex Sans" charset="-120"/>
        <a:buChar char="–"/>
        <a:tabLst/>
        <a:defRPr sz="3734"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2142040" indent="-463284" algn="l" rtl="0" eaLnBrk="1" fontAlgn="base" hangingPunct="1">
        <a:lnSpc>
          <a:spcPct val="100000"/>
        </a:lnSpc>
        <a:spcBef>
          <a:spcPts val="2934"/>
        </a:spcBef>
        <a:spcAft>
          <a:spcPct val="0"/>
        </a:spcAft>
        <a:buClr>
          <a:schemeClr val="tx1"/>
        </a:buClr>
        <a:buFont typeface="IBM Plex Sans" charset="-120"/>
        <a:buChar char="»"/>
        <a:tabLst/>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560832" y="536451"/>
            <a:ext cx="11045952" cy="1194821"/>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609602" y="3438148"/>
            <a:ext cx="10997181" cy="85465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4"/>
          </p:nvPr>
        </p:nvSpPr>
        <p:spPr>
          <a:xfrm>
            <a:off x="23522018" y="12866872"/>
            <a:ext cx="252205" cy="243840"/>
          </a:xfrm>
          <a:prstGeom prst="rect">
            <a:avLst/>
          </a:prstGeom>
        </p:spPr>
        <p:txBody>
          <a:bodyPr vert="horz" wrap="none" lIns="0" tIns="0" rIns="0" bIns="0" rtlCol="0" anchor="ctr">
            <a:noAutofit/>
          </a:bodyPr>
          <a:lstStyle>
            <a:lvl1pPr algn="r">
              <a:defRPr sz="1600" b="0" i="0">
                <a:solidFill>
                  <a:srgbClr val="868D95"/>
                </a:solidFill>
                <a:latin typeface="Arial" panose="020B0604020202020204" pitchFamily="34" charset="0"/>
                <a:cs typeface="Arial" panose="020B0604020202020204" pitchFamily="34" charset="0"/>
              </a:defRPr>
            </a:lvl1pPr>
          </a:lstStyle>
          <a:p>
            <a:fld id="{8400BABA-9F63-4A07-A638-F049A3381407}" type="slidenum">
              <a:rPr lang="en-IL" smtClean="0"/>
              <a:t>‹#›</a:t>
            </a:fld>
            <a:endParaRPr lang="en-IL"/>
          </a:p>
        </p:txBody>
      </p:sp>
      <p:grpSp>
        <p:nvGrpSpPr>
          <p:cNvPr id="59" name="Group 58"/>
          <p:cNvGrpSpPr/>
          <p:nvPr/>
        </p:nvGrpSpPr>
        <p:grpSpPr>
          <a:xfrm>
            <a:off x="-292613" y="-294640"/>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3" name="Footer Placeholder 2">
            <a:extLst>
              <a:ext uri="{FF2B5EF4-FFF2-40B4-BE49-F238E27FC236}">
                <a16:creationId xmlns:a16="http://schemas.microsoft.com/office/drawing/2014/main" id="{0BFD1F50-D243-9F49-A0FC-92C66E2C220C}"/>
              </a:ext>
            </a:extLst>
          </p:cNvPr>
          <p:cNvSpPr>
            <a:spLocks noGrp="1"/>
          </p:cNvSpPr>
          <p:nvPr>
            <p:ph type="ftr" sz="quarter" idx="3"/>
          </p:nvPr>
        </p:nvSpPr>
        <p:spPr>
          <a:xfrm>
            <a:off x="609776" y="12866872"/>
            <a:ext cx="4876624" cy="243840"/>
          </a:xfrm>
          <a:prstGeom prst="rect">
            <a:avLst/>
          </a:prstGeom>
        </p:spPr>
        <p:txBody>
          <a:bodyPr vert="horz" wrap="none" lIns="0" tIns="0" rIns="0" bIns="0" rtlCol="0" anchor="ctr">
            <a:noAutofit/>
          </a:bodyPr>
          <a:lstStyle>
            <a:lvl1pPr>
              <a:defRPr lang="en-US" sz="1600" b="0" i="0">
                <a:solidFill>
                  <a:srgbClr val="868D95"/>
                </a:solidFill>
                <a:latin typeface="Arial" panose="020B0604020202020204" pitchFamily="34" charset="0"/>
                <a:cs typeface="Arial" panose="020B0604020202020204" pitchFamily="34" charset="0"/>
              </a:defRPr>
            </a:lvl1pPr>
          </a:lstStyle>
          <a:p>
            <a:endParaRPr lang="en-IL"/>
          </a:p>
        </p:txBody>
      </p:sp>
    </p:spTree>
    <p:extLst>
      <p:ext uri="{BB962C8B-B14F-4D97-AF65-F5344CB8AC3E}">
        <p14:creationId xmlns:p14="http://schemas.microsoft.com/office/powerpoint/2010/main" val="2789194460"/>
      </p:ext>
    </p:extLst>
  </p:cSld>
  <p:clrMap bg1="dk1" tx1="lt1" bg2="dk2" tx2="lt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3910" r:id="rId30"/>
    <p:sldLayoutId id="2147483911" r:id="rId31"/>
    <p:sldLayoutId id="2147483912" r:id="rId32"/>
    <p:sldLayoutId id="2147483913" r:id="rId33"/>
    <p:sldLayoutId id="2147483914" r:id="rId34"/>
    <p:sldLayoutId id="2147483915" r:id="rId35"/>
    <p:sldLayoutId id="2147483916" r:id="rId36"/>
    <p:sldLayoutId id="2147483917" r:id="rId37"/>
    <p:sldLayoutId id="2147483918" r:id="rId38"/>
    <p:sldLayoutId id="2147483919" r:id="rId39"/>
    <p:sldLayoutId id="2147483920" r:id="rId40"/>
    <p:sldLayoutId id="2147483921" r:id="rId41"/>
    <p:sldLayoutId id="2147483922" r:id="rId42"/>
    <p:sldLayoutId id="2147483923" r:id="rId43"/>
    <p:sldLayoutId id="2147483924" r:id="rId44"/>
  </p:sldLayoutIdLst>
  <p:txStyles>
    <p:titleStyle>
      <a:lvl1pPr algn="l" rtl="0" eaLnBrk="1" fontAlgn="base" hangingPunct="1">
        <a:lnSpc>
          <a:spcPct val="90000"/>
        </a:lnSpc>
        <a:spcBef>
          <a:spcPct val="0"/>
        </a:spcBef>
        <a:spcAft>
          <a:spcPct val="0"/>
        </a:spcAft>
        <a:defRPr sz="6400" b="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HelvNeue Light for IBM" pitchFamily="34" charset="0"/>
        </a:defRPr>
      </a:lvl2pPr>
      <a:lvl3pPr algn="l" rtl="0" eaLnBrk="1" fontAlgn="base" hangingPunct="1">
        <a:lnSpc>
          <a:spcPct val="90000"/>
        </a:lnSpc>
        <a:spcBef>
          <a:spcPct val="0"/>
        </a:spcBef>
        <a:spcAft>
          <a:spcPct val="0"/>
        </a:spcAft>
        <a:defRPr sz="5920">
          <a:solidFill>
            <a:srgbClr val="191919"/>
          </a:solidFill>
          <a:latin typeface="HelvNeue Light for IBM" pitchFamily="34" charset="0"/>
        </a:defRPr>
      </a:lvl3pPr>
      <a:lvl4pPr algn="l" rtl="0" eaLnBrk="1" fontAlgn="base" hangingPunct="1">
        <a:lnSpc>
          <a:spcPct val="90000"/>
        </a:lnSpc>
        <a:spcBef>
          <a:spcPct val="0"/>
        </a:spcBef>
        <a:spcAft>
          <a:spcPct val="0"/>
        </a:spcAft>
        <a:defRPr sz="5920">
          <a:solidFill>
            <a:srgbClr val="191919"/>
          </a:solidFill>
          <a:latin typeface="HelvNeue Light for IBM" pitchFamily="34" charset="0"/>
        </a:defRPr>
      </a:lvl4pPr>
      <a:lvl5pPr algn="l" rtl="0" eaLnBrk="1" fontAlgn="base" hangingPunct="1">
        <a:lnSpc>
          <a:spcPct val="90000"/>
        </a:lnSpc>
        <a:spcBef>
          <a:spcPct val="0"/>
        </a:spcBef>
        <a:spcAft>
          <a:spcPct val="0"/>
        </a:spcAft>
        <a:defRPr sz="5920">
          <a:solidFill>
            <a:srgbClr val="191919"/>
          </a:solidFill>
          <a:latin typeface="HelvNeue Light for IBM" pitchFamily="34" charset="0"/>
        </a:defRPr>
      </a:lvl5pPr>
      <a:lvl6pPr marL="966825" algn="l" rtl="0" eaLnBrk="1" fontAlgn="base" hangingPunct="1">
        <a:lnSpc>
          <a:spcPct val="90000"/>
        </a:lnSpc>
        <a:spcBef>
          <a:spcPct val="0"/>
        </a:spcBef>
        <a:spcAft>
          <a:spcPct val="0"/>
        </a:spcAft>
        <a:defRPr sz="5920">
          <a:solidFill>
            <a:srgbClr val="191919"/>
          </a:solidFill>
          <a:latin typeface="HelvNeue Light for IBM" pitchFamily="34" charset="0"/>
        </a:defRPr>
      </a:lvl6pPr>
      <a:lvl7pPr marL="1933656" algn="l" rtl="0" eaLnBrk="1" fontAlgn="base" hangingPunct="1">
        <a:lnSpc>
          <a:spcPct val="90000"/>
        </a:lnSpc>
        <a:spcBef>
          <a:spcPct val="0"/>
        </a:spcBef>
        <a:spcAft>
          <a:spcPct val="0"/>
        </a:spcAft>
        <a:defRPr sz="5920">
          <a:solidFill>
            <a:srgbClr val="191919"/>
          </a:solidFill>
          <a:latin typeface="HelvNeue Light for IBM" pitchFamily="34" charset="0"/>
        </a:defRPr>
      </a:lvl7pPr>
      <a:lvl8pPr marL="2900479" algn="l" rtl="0" eaLnBrk="1" fontAlgn="base" hangingPunct="1">
        <a:lnSpc>
          <a:spcPct val="90000"/>
        </a:lnSpc>
        <a:spcBef>
          <a:spcPct val="0"/>
        </a:spcBef>
        <a:spcAft>
          <a:spcPct val="0"/>
        </a:spcAft>
        <a:defRPr sz="5920">
          <a:solidFill>
            <a:srgbClr val="191919"/>
          </a:solidFill>
          <a:latin typeface="HelvNeue Light for IBM" pitchFamily="34" charset="0"/>
        </a:defRPr>
      </a:lvl8pPr>
      <a:lvl9pPr marL="3867307" algn="l" rtl="0" eaLnBrk="1" fontAlgn="base" hangingPunct="1">
        <a:lnSpc>
          <a:spcPct val="90000"/>
        </a:lnSpc>
        <a:spcBef>
          <a:spcPct val="0"/>
        </a:spcBef>
        <a:spcAft>
          <a:spcPct val="0"/>
        </a:spcAft>
        <a:defRPr sz="5920">
          <a:solidFill>
            <a:srgbClr val="191919"/>
          </a:solidFill>
          <a:latin typeface="HelvNeue Light for IBM" pitchFamily="34" charset="0"/>
        </a:defRPr>
      </a:lvl9pPr>
    </p:titleStyle>
    <p:bodyStyle>
      <a:lvl1pPr marL="0" indent="0" algn="l" rtl="0" eaLnBrk="1" fontAlgn="base" hangingPunct="1">
        <a:lnSpc>
          <a:spcPct val="100000"/>
        </a:lnSpc>
        <a:spcBef>
          <a:spcPts val="3200"/>
        </a:spcBef>
        <a:spcAft>
          <a:spcPct val="0"/>
        </a:spcAft>
        <a:buClr>
          <a:srgbClr val="6D6E70"/>
        </a:buClr>
        <a:buSzPct val="90000"/>
        <a:buFont typeface="Wingdings" pitchFamily="2" charset="2"/>
        <a:buNone/>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marL="457195" indent="-457195" algn="l" rtl="0" eaLnBrk="1" fontAlgn="base" hangingPunct="1">
        <a:lnSpc>
          <a:spcPct val="100000"/>
        </a:lnSpc>
        <a:spcBef>
          <a:spcPts val="3200"/>
        </a:spcBef>
        <a:spcAft>
          <a:spcPct val="0"/>
        </a:spcAft>
        <a:buClr>
          <a:schemeClr val="bg1"/>
        </a:buClr>
        <a:buSzPct val="100000"/>
        <a:buFont typeface="Arial" panose="020B0604020202020204" pitchFamily="34" charset="0"/>
        <a:buChar char="•"/>
        <a:tabLst/>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2pPr>
      <a:lvl3pPr marL="914390" indent="-376762" algn="l" rtl="0" eaLnBrk="1" fontAlgn="base" hangingPunct="1">
        <a:lnSpc>
          <a:spcPct val="100000"/>
        </a:lnSpc>
        <a:spcBef>
          <a:spcPts val="3200"/>
        </a:spcBef>
        <a:spcAft>
          <a:spcPct val="0"/>
        </a:spcAft>
        <a:buClr>
          <a:schemeClr val="bg1"/>
        </a:buClr>
        <a:buSzPct val="100000"/>
        <a:buFont typeface="System Font Regular"/>
        <a:buChar char="–"/>
        <a:tabLst/>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3pPr>
      <a:lvl4pPr marL="1676378" indent="-516460" algn="l" rtl="0" eaLnBrk="1" fontAlgn="base" hangingPunct="1">
        <a:lnSpc>
          <a:spcPct val="100000"/>
        </a:lnSpc>
        <a:spcBef>
          <a:spcPts val="3200"/>
        </a:spcBef>
        <a:spcAft>
          <a:spcPct val="0"/>
        </a:spcAft>
        <a:buClr>
          <a:schemeClr val="bg1"/>
        </a:buClr>
        <a:buSzPct val="100000"/>
        <a:buFont typeface="System Font Regular"/>
        <a:buChar char="»"/>
        <a:tabLst/>
        <a:defRPr sz="3733" baseline="0">
          <a:solidFill>
            <a:schemeClr val="bg1"/>
          </a:solidFill>
          <a:latin typeface="IBM Plex Sans" panose="020B0503050203000203" pitchFamily="34" charset="0"/>
          <a:ea typeface="IBM Plex Sans" panose="020B0503050203000203" pitchFamily="34" charset="0"/>
          <a:cs typeface="Arial" panose="020B0604020202020204" pitchFamily="34" charset="0"/>
        </a:defRPr>
      </a:lvl4pPr>
      <a:lvl5pPr marL="2142040" indent="-457195" algn="l" rtl="0" eaLnBrk="1" fontAlgn="base" hangingPunct="1">
        <a:lnSpc>
          <a:spcPct val="100000"/>
        </a:lnSpc>
        <a:spcBef>
          <a:spcPts val="3200"/>
        </a:spcBef>
        <a:spcAft>
          <a:spcPct val="0"/>
        </a:spcAft>
        <a:buClr>
          <a:schemeClr val="bg1"/>
        </a:buClr>
        <a:buFont typeface="System Font Regular"/>
        <a:buChar char="–"/>
        <a:tabLst/>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5pPr>
      <a:lvl6pPr marL="4223151" indent="-345778" algn="l" rtl="0" eaLnBrk="1" fontAlgn="base" hangingPunct="1">
        <a:spcBef>
          <a:spcPct val="20000"/>
        </a:spcBef>
        <a:spcAft>
          <a:spcPct val="0"/>
        </a:spcAft>
        <a:buClr>
          <a:schemeClr val="bg1"/>
        </a:buClr>
        <a:buChar char="»"/>
        <a:defRPr sz="3384">
          <a:solidFill>
            <a:schemeClr val="bg1"/>
          </a:solidFill>
          <a:latin typeface="Arial" charset="0"/>
        </a:defRPr>
      </a:lvl6pPr>
      <a:lvl7pPr marL="5189977" indent="-345778" algn="l" rtl="0" eaLnBrk="1" fontAlgn="base" hangingPunct="1">
        <a:spcBef>
          <a:spcPct val="20000"/>
        </a:spcBef>
        <a:spcAft>
          <a:spcPct val="0"/>
        </a:spcAft>
        <a:buClr>
          <a:schemeClr val="bg1"/>
        </a:buClr>
        <a:buChar char="»"/>
        <a:defRPr sz="3384">
          <a:solidFill>
            <a:schemeClr val="bg1"/>
          </a:solidFill>
          <a:latin typeface="Arial" charset="0"/>
        </a:defRPr>
      </a:lvl7pPr>
      <a:lvl8pPr marL="6156805" indent="-345778" algn="l" rtl="0" eaLnBrk="1" fontAlgn="base" hangingPunct="1">
        <a:spcBef>
          <a:spcPct val="20000"/>
        </a:spcBef>
        <a:spcAft>
          <a:spcPct val="0"/>
        </a:spcAft>
        <a:buClr>
          <a:schemeClr val="bg1"/>
        </a:buClr>
        <a:buChar char="»"/>
        <a:defRPr sz="3384">
          <a:solidFill>
            <a:schemeClr val="bg1"/>
          </a:solidFill>
          <a:latin typeface="Arial" charset="0"/>
        </a:defRPr>
      </a:lvl8pPr>
      <a:lvl9pPr marL="7123633" indent="-345778" algn="l" rtl="0" eaLnBrk="1" fontAlgn="base" hangingPunct="1">
        <a:spcBef>
          <a:spcPct val="20000"/>
        </a:spcBef>
        <a:spcAft>
          <a:spcPct val="0"/>
        </a:spcAft>
        <a:buClr>
          <a:schemeClr val="bg1"/>
        </a:buClr>
        <a:buChar char="»"/>
        <a:defRPr sz="3384">
          <a:solidFill>
            <a:schemeClr val="bg1"/>
          </a:solidFill>
          <a:latin typeface="Arial"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5"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79" algn="l" defTabSz="1933656" rtl="0" eaLnBrk="1" latinLnBrk="0" hangingPunct="1">
        <a:defRPr sz="3808" kern="1200">
          <a:solidFill>
            <a:schemeClr val="tx1"/>
          </a:solidFill>
          <a:latin typeface="+mn-lt"/>
          <a:ea typeface="+mn-ea"/>
          <a:cs typeface="+mn-cs"/>
        </a:defRPr>
      </a:lvl4pPr>
      <a:lvl5pPr marL="3867307" algn="l" defTabSz="1933656" rtl="0" eaLnBrk="1" latinLnBrk="0" hangingPunct="1">
        <a:defRPr sz="3808" kern="1200">
          <a:solidFill>
            <a:schemeClr val="tx1"/>
          </a:solidFill>
          <a:latin typeface="+mn-lt"/>
          <a:ea typeface="+mn-ea"/>
          <a:cs typeface="+mn-cs"/>
        </a:defRPr>
      </a:lvl5pPr>
      <a:lvl6pPr marL="4834135"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4"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536455"/>
            <a:ext cx="10972800" cy="1197627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12801600" y="512069"/>
            <a:ext cx="10972800" cy="12000654"/>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18288000" y="12870614"/>
            <a:ext cx="5486400" cy="365760"/>
          </a:xfrm>
          <a:prstGeom prst="rect">
            <a:avLst/>
          </a:prstGeom>
        </p:spPr>
        <p:txBody>
          <a:bodyPr vert="horz" lIns="0" tIns="0" rIns="0" bIns="0" rtlCol="0" anchor="ctr"/>
          <a:lstStyle>
            <a:lvl1pPr algn="r">
              <a:defRPr sz="1598" baseline="0">
                <a:solidFill>
                  <a:schemeClr val="bg2"/>
                </a:solidFill>
                <a:latin typeface="+mn-lt"/>
                <a:ea typeface="IBM Plex Sans" panose="020B0503050203000203" pitchFamily="34" charset="0"/>
                <a:cs typeface="Arial" charset="0"/>
              </a:defRPr>
            </a:lvl1pPr>
          </a:lstStyle>
          <a:p>
            <a:fld id="{3FD999D4-B456-9943-89B7-30D56181CE18}" type="slidenum">
              <a:rPr lang="en-US" smtClean="0">
                <a:solidFill>
                  <a:srgbClr val="000000"/>
                </a:solidFill>
              </a:rPr>
              <a:pPr/>
              <a:t>‹#›</a:t>
            </a:fld>
            <a:endParaRPr lang="en-US">
              <a:solidFill>
                <a:srgbClr val="000000"/>
              </a:solidFill>
            </a:endParaRPr>
          </a:p>
        </p:txBody>
      </p:sp>
      <p:sp>
        <p:nvSpPr>
          <p:cNvPr id="9" name="Footer Placeholder 8"/>
          <p:cNvSpPr>
            <a:spLocks noGrp="1"/>
          </p:cNvSpPr>
          <p:nvPr>
            <p:ph type="ftr" sz="quarter" idx="3"/>
          </p:nvPr>
        </p:nvSpPr>
        <p:spPr>
          <a:xfrm>
            <a:off x="609600" y="12870614"/>
            <a:ext cx="17068800" cy="365760"/>
          </a:xfrm>
          <a:prstGeom prst="rect">
            <a:avLst/>
          </a:prstGeom>
        </p:spPr>
        <p:txBody>
          <a:bodyPr vert="horz" lIns="0" tIns="0" rIns="0" bIns="0" rtlCol="0" anchor="ctr"/>
          <a:lstStyle>
            <a:lvl1pPr algn="l">
              <a:defRPr sz="1598" baseline="0">
                <a:solidFill>
                  <a:schemeClr val="bg2"/>
                </a:solidFill>
                <a:latin typeface="+mn-lt"/>
                <a:ea typeface="IBM Plex Sans" panose="020B0503050203000203" pitchFamily="34" charset="0"/>
                <a:cs typeface="Arial" charset="0"/>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310096916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93" r:id="rId41"/>
  </p:sldLayoutIdLst>
  <p:hf hdr="0" dt="0"/>
  <p:txStyles>
    <p:titleStyle>
      <a:lvl1pPr algn="l" defTabSz="1217920" rtl="0" eaLnBrk="1" latinLnBrk="0" hangingPunct="1">
        <a:lnSpc>
          <a:spcPct val="90000"/>
        </a:lnSpc>
        <a:spcBef>
          <a:spcPct val="0"/>
        </a:spcBef>
        <a:buNone/>
        <a:defRPr sz="6394" kern="1200">
          <a:solidFill>
            <a:schemeClr val="bg2"/>
          </a:solidFill>
          <a:latin typeface="+mj-lt"/>
          <a:ea typeface="IBM Plex Sans" panose="020B0503050203000203" pitchFamily="34" charset="0"/>
          <a:cs typeface="Arial" charset="0"/>
        </a:defRPr>
      </a:lvl1pPr>
    </p:titleStyle>
    <p:bodyStyle>
      <a:lvl1pPr marL="0" indent="0" algn="l" defTabSz="1217920" rtl="0" eaLnBrk="1" latinLnBrk="0" hangingPunct="1">
        <a:lnSpc>
          <a:spcPct val="100000"/>
        </a:lnSpc>
        <a:spcBef>
          <a:spcPts val="2932"/>
        </a:spcBef>
        <a:buFont typeface="Arial"/>
        <a:buNone/>
        <a:defRPr sz="3730" kern="1200">
          <a:solidFill>
            <a:schemeClr val="bg2"/>
          </a:solidFill>
          <a:latin typeface="+mn-lt"/>
          <a:ea typeface="IBM Plex Sans" panose="020B0503050203000203" pitchFamily="34" charset="0"/>
          <a:cs typeface="Arial" charset="0"/>
        </a:defRPr>
      </a:lvl1pPr>
      <a:lvl2pPr marL="460950" indent="-460950" algn="l" defTabSz="1217920" rtl="0" eaLnBrk="1" latinLnBrk="0" hangingPunct="1">
        <a:lnSpc>
          <a:spcPct val="100000"/>
        </a:lnSpc>
        <a:spcBef>
          <a:spcPts val="2932"/>
        </a:spcBef>
        <a:spcAft>
          <a:spcPts val="0"/>
        </a:spcAft>
        <a:buFont typeface="Arial"/>
        <a:buChar char="–"/>
        <a:defRPr sz="3730" kern="1200">
          <a:solidFill>
            <a:schemeClr val="bg2"/>
          </a:solidFill>
          <a:latin typeface="+mn-lt"/>
          <a:ea typeface="IBM Plex Sans" panose="020B0503050203000203" pitchFamily="34" charset="0"/>
          <a:cs typeface="Arial" charset="0"/>
        </a:defRPr>
      </a:lvl2pPr>
      <a:lvl3pPr marL="1057222" indent="-460950" algn="l" defTabSz="1217920" rtl="0" eaLnBrk="1" latinLnBrk="0" hangingPunct="1">
        <a:lnSpc>
          <a:spcPct val="100000"/>
        </a:lnSpc>
        <a:spcBef>
          <a:spcPts val="2932"/>
        </a:spcBef>
        <a:spcAft>
          <a:spcPts val="0"/>
        </a:spcAft>
        <a:buFont typeface="Arial"/>
        <a:buChar char="•"/>
        <a:defRPr sz="3730" kern="1200">
          <a:solidFill>
            <a:schemeClr val="bg2"/>
          </a:solidFill>
          <a:latin typeface="+mn-lt"/>
          <a:ea typeface="IBM Plex Sans" panose="020B0503050203000203" pitchFamily="34" charset="0"/>
          <a:cs typeface="Arial" charset="0"/>
        </a:defRPr>
      </a:lvl3pPr>
      <a:lvl4pPr marL="1666184" indent="-448264" algn="l" defTabSz="1217920" rtl="0" eaLnBrk="1" latinLnBrk="0" hangingPunct="1">
        <a:lnSpc>
          <a:spcPct val="100000"/>
        </a:lnSpc>
        <a:spcBef>
          <a:spcPts val="2932"/>
        </a:spcBef>
        <a:spcAft>
          <a:spcPts val="0"/>
        </a:spcAft>
        <a:buFont typeface="Arial"/>
        <a:buChar char="–"/>
        <a:defRPr sz="3730" kern="1200">
          <a:solidFill>
            <a:schemeClr val="bg2"/>
          </a:solidFill>
          <a:latin typeface="+mn-lt"/>
          <a:ea typeface="IBM Plex Sans" panose="020B0503050203000203" pitchFamily="34" charset="0"/>
          <a:cs typeface="Arial" charset="0"/>
        </a:defRPr>
      </a:lvl4pPr>
      <a:lvl5pPr marL="2139818" indent="-460950" algn="l" defTabSz="1217920" rtl="0" eaLnBrk="1" latinLnBrk="0" hangingPunct="1">
        <a:lnSpc>
          <a:spcPct val="100000"/>
        </a:lnSpc>
        <a:spcBef>
          <a:spcPts val="2932"/>
        </a:spcBef>
        <a:spcAft>
          <a:spcPts val="0"/>
        </a:spcAft>
        <a:buFont typeface="Arial"/>
        <a:buChar char="»"/>
        <a:defRPr sz="3730" kern="1200">
          <a:solidFill>
            <a:schemeClr val="bg2"/>
          </a:solidFill>
          <a:latin typeface="+mn-lt"/>
          <a:ea typeface="IBM Plex Sans" panose="020B0503050203000203" pitchFamily="34" charset="0"/>
          <a:cs typeface="Arial" charset="0"/>
        </a:defRPr>
      </a:lvl5pPr>
      <a:lvl6pPr marL="6698558" indent="-608958" algn="l" defTabSz="1217920" rtl="0" eaLnBrk="1" latinLnBrk="0" hangingPunct="1">
        <a:spcBef>
          <a:spcPct val="20000"/>
        </a:spcBef>
        <a:buFont typeface="Arial"/>
        <a:buChar char="•"/>
        <a:defRPr sz="5330" kern="1200">
          <a:solidFill>
            <a:schemeClr val="tx1"/>
          </a:solidFill>
          <a:latin typeface="+mn-lt"/>
          <a:ea typeface="+mn-ea"/>
          <a:cs typeface="+mn-cs"/>
        </a:defRPr>
      </a:lvl6pPr>
      <a:lvl7pPr marL="7916480" indent="-608958" algn="l" defTabSz="1217920" rtl="0" eaLnBrk="1" latinLnBrk="0" hangingPunct="1">
        <a:spcBef>
          <a:spcPct val="20000"/>
        </a:spcBef>
        <a:buFont typeface="Arial"/>
        <a:buChar char="•"/>
        <a:defRPr sz="5330" kern="1200">
          <a:solidFill>
            <a:schemeClr val="tx1"/>
          </a:solidFill>
          <a:latin typeface="+mn-lt"/>
          <a:ea typeface="+mn-ea"/>
          <a:cs typeface="+mn-cs"/>
        </a:defRPr>
      </a:lvl7pPr>
      <a:lvl8pPr marL="9134400" indent="-608958" algn="l" defTabSz="1217920" rtl="0" eaLnBrk="1" latinLnBrk="0" hangingPunct="1">
        <a:spcBef>
          <a:spcPct val="20000"/>
        </a:spcBef>
        <a:buFont typeface="Arial"/>
        <a:buChar char="•"/>
        <a:defRPr sz="5330" kern="1200">
          <a:solidFill>
            <a:schemeClr val="tx1"/>
          </a:solidFill>
          <a:latin typeface="+mn-lt"/>
          <a:ea typeface="+mn-ea"/>
          <a:cs typeface="+mn-cs"/>
        </a:defRPr>
      </a:lvl8pPr>
      <a:lvl9pPr marL="10352320" indent="-608958" algn="l" defTabSz="1217920" rtl="0" eaLnBrk="1" latinLnBrk="0" hangingPunct="1">
        <a:spcBef>
          <a:spcPct val="20000"/>
        </a:spcBef>
        <a:buFont typeface="Arial"/>
        <a:buChar char="•"/>
        <a:defRPr sz="5330" kern="1200">
          <a:solidFill>
            <a:schemeClr val="tx1"/>
          </a:solidFill>
          <a:latin typeface="+mn-lt"/>
          <a:ea typeface="+mn-ea"/>
          <a:cs typeface="+mn-cs"/>
        </a:defRPr>
      </a:lvl9pPr>
    </p:bodyStyle>
    <p:otherStyle>
      <a:defPPr>
        <a:defRPr lang="en-US"/>
      </a:defPPr>
      <a:lvl1pPr marL="0" algn="l" defTabSz="1217920" rtl="0" eaLnBrk="1" latinLnBrk="0" hangingPunct="1">
        <a:defRPr sz="4796" kern="1200">
          <a:solidFill>
            <a:schemeClr val="tx1"/>
          </a:solidFill>
          <a:latin typeface="+mn-lt"/>
          <a:ea typeface="+mn-ea"/>
          <a:cs typeface="+mn-cs"/>
        </a:defRPr>
      </a:lvl1pPr>
      <a:lvl2pPr marL="1217920" algn="l" defTabSz="1217920" rtl="0" eaLnBrk="1" latinLnBrk="0" hangingPunct="1">
        <a:defRPr sz="4796" kern="1200">
          <a:solidFill>
            <a:schemeClr val="tx1"/>
          </a:solidFill>
          <a:latin typeface="+mn-lt"/>
          <a:ea typeface="+mn-ea"/>
          <a:cs typeface="+mn-cs"/>
        </a:defRPr>
      </a:lvl2pPr>
      <a:lvl3pPr marL="2435842" algn="l" defTabSz="1217920" rtl="0" eaLnBrk="1" latinLnBrk="0" hangingPunct="1">
        <a:defRPr sz="4796" kern="1200">
          <a:solidFill>
            <a:schemeClr val="tx1"/>
          </a:solidFill>
          <a:latin typeface="+mn-lt"/>
          <a:ea typeface="+mn-ea"/>
          <a:cs typeface="+mn-cs"/>
        </a:defRPr>
      </a:lvl3pPr>
      <a:lvl4pPr marL="3653762" algn="l" defTabSz="1217920" rtl="0" eaLnBrk="1" latinLnBrk="0" hangingPunct="1">
        <a:defRPr sz="4796" kern="1200">
          <a:solidFill>
            <a:schemeClr val="tx1"/>
          </a:solidFill>
          <a:latin typeface="+mn-lt"/>
          <a:ea typeface="+mn-ea"/>
          <a:cs typeface="+mn-cs"/>
        </a:defRPr>
      </a:lvl4pPr>
      <a:lvl5pPr marL="4871680" algn="l" defTabSz="1217920" rtl="0" eaLnBrk="1" latinLnBrk="0" hangingPunct="1">
        <a:defRPr sz="4796" kern="1200">
          <a:solidFill>
            <a:schemeClr val="tx1"/>
          </a:solidFill>
          <a:latin typeface="+mn-lt"/>
          <a:ea typeface="+mn-ea"/>
          <a:cs typeface="+mn-cs"/>
        </a:defRPr>
      </a:lvl5pPr>
      <a:lvl6pPr marL="6089600" algn="l" defTabSz="1217920" rtl="0" eaLnBrk="1" latinLnBrk="0" hangingPunct="1">
        <a:defRPr sz="4796" kern="1200">
          <a:solidFill>
            <a:schemeClr val="tx1"/>
          </a:solidFill>
          <a:latin typeface="+mn-lt"/>
          <a:ea typeface="+mn-ea"/>
          <a:cs typeface="+mn-cs"/>
        </a:defRPr>
      </a:lvl6pPr>
      <a:lvl7pPr marL="7307522" algn="l" defTabSz="1217920" rtl="0" eaLnBrk="1" latinLnBrk="0" hangingPunct="1">
        <a:defRPr sz="4796" kern="1200">
          <a:solidFill>
            <a:schemeClr val="tx1"/>
          </a:solidFill>
          <a:latin typeface="+mn-lt"/>
          <a:ea typeface="+mn-ea"/>
          <a:cs typeface="+mn-cs"/>
        </a:defRPr>
      </a:lvl7pPr>
      <a:lvl8pPr marL="8525440" algn="l" defTabSz="1217920" rtl="0" eaLnBrk="1" latinLnBrk="0" hangingPunct="1">
        <a:defRPr sz="4796" kern="1200">
          <a:solidFill>
            <a:schemeClr val="tx1"/>
          </a:solidFill>
          <a:latin typeface="+mn-lt"/>
          <a:ea typeface="+mn-ea"/>
          <a:cs typeface="+mn-cs"/>
        </a:defRPr>
      </a:lvl8pPr>
      <a:lvl9pPr marL="9743362" algn="l" defTabSz="1217920" rtl="0" eaLnBrk="1" latinLnBrk="0" hangingPunct="1">
        <a:defRPr sz="479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1143000"/>
            <a:ext cx="10972800" cy="1905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762000" y="3429000"/>
            <a:ext cx="10972800" cy="8763000"/>
          </a:xfrm>
          <a:prstGeom prst="rect">
            <a:avLst/>
          </a:prstGeom>
        </p:spPr>
        <p:txBody>
          <a:bodyPr vert="horz" lIns="0" tIns="228600" rIns="0" bIns="0" rtlCol="0" anchor="t">
            <a:noAutofit/>
          </a:bodyPr>
          <a:lstStyle/>
          <a:p>
            <a:pPr lvl="0"/>
            <a:r>
              <a:rPr lang="en-US" dirty="0"/>
              <a:t>Click to edit Master text styles</a:t>
            </a:r>
          </a:p>
        </p:txBody>
      </p:sp>
      <p:grpSp>
        <p:nvGrpSpPr>
          <p:cNvPr id="8" name="Group 7"/>
          <p:cNvGrpSpPr/>
          <p:nvPr userDrawn="1"/>
        </p:nvGrpSpPr>
        <p:grpSpPr>
          <a:xfrm>
            <a:off x="1524000" y="13166093"/>
            <a:ext cx="4369850" cy="367618"/>
            <a:chOff x="914400" y="7899655"/>
            <a:chExt cx="2621910" cy="220571"/>
          </a:xfrm>
        </p:grpSpPr>
        <p:sp>
          <p:nvSpPr>
            <p:cNvPr id="9"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0" name="Date Placeholder 2"/>
            <p:cNvSpPr txBox="1">
              <a:spLocks/>
            </p:cNvSpPr>
            <p:nvPr userDrawn="1"/>
          </p:nvSpPr>
          <p:spPr>
            <a:xfrm>
              <a:off x="2256150" y="7899655"/>
              <a:ext cx="128016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21 October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1"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2"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Tree>
    <p:extLst>
      <p:ext uri="{BB962C8B-B14F-4D97-AF65-F5344CB8AC3E}">
        <p14:creationId xmlns:p14="http://schemas.microsoft.com/office/powerpoint/2010/main" val="279465704"/>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 id="2147484007" r:id="rId13"/>
    <p:sldLayoutId id="2147484008" r:id="rId14"/>
    <p:sldLayoutId id="2147484009" r:id="rId15"/>
    <p:sldLayoutId id="2147484010" r:id="rId16"/>
    <p:sldLayoutId id="2147484011" r:id="rId17"/>
    <p:sldLayoutId id="2147484012" r:id="rId18"/>
    <p:sldLayoutId id="2147484013" r:id="rId19"/>
    <p:sldLayoutId id="2147484014" r:id="rId20"/>
    <p:sldLayoutId id="2147484015" r:id="rId21"/>
    <p:sldLayoutId id="2147484016" r:id="rId22"/>
    <p:sldLayoutId id="2147484017" r:id="rId23"/>
  </p:sldLayoutIdLst>
  <p:txStyles>
    <p:titleStyle>
      <a:lvl1pPr algn="l" defTabSz="1828837" rtl="0" eaLnBrk="1" latinLnBrk="0" hangingPunct="1">
        <a:lnSpc>
          <a:spcPct val="90000"/>
        </a:lnSpc>
        <a:spcBef>
          <a:spcPct val="0"/>
        </a:spcBef>
        <a:buNone/>
        <a:defRPr sz="6000" b="0" i="0" kern="1200">
          <a:solidFill>
            <a:schemeClr val="bg2"/>
          </a:solidFill>
          <a:latin typeface="IBM Plex Sans" charset="0"/>
          <a:ea typeface="IBM Plex Sans" charset="0"/>
          <a:cs typeface="IBM Plex Sans" charset="0"/>
        </a:defRPr>
      </a:lvl1pPr>
    </p:titleStyle>
    <p:bodyStyle>
      <a:lvl1pPr marL="0" indent="0" algn="l" defTabSz="1828837" rtl="0" eaLnBrk="1" latinLnBrk="0" hangingPunct="1">
        <a:lnSpc>
          <a:spcPct val="105000"/>
        </a:lnSpc>
        <a:spcBef>
          <a:spcPts val="1000"/>
        </a:spcBef>
        <a:buFontTx/>
        <a:buNone/>
        <a:tabLst/>
        <a:defRPr sz="3333" b="0" i="0" kern="1200">
          <a:solidFill>
            <a:schemeClr val="bg2"/>
          </a:solidFill>
          <a:latin typeface="IBM Plex Sans" charset="0"/>
          <a:ea typeface="IBM Plex Sans" charset="0"/>
          <a:cs typeface="IBM Plex Sans" charset="0"/>
        </a:defRPr>
      </a:lvl1pPr>
      <a:lvl2pPr marL="381008" indent="-381008" algn="l" defTabSz="1828837" rtl="0" eaLnBrk="1" latinLnBrk="0" hangingPunct="1">
        <a:lnSpc>
          <a:spcPct val="105000"/>
        </a:lnSpc>
        <a:spcBef>
          <a:spcPts val="1000"/>
        </a:spcBef>
        <a:buFont typeface="Wingdings" panose="05000000000000000000" pitchFamily="2" charset="2"/>
        <a:buChar char="§"/>
        <a:defRPr sz="3333" b="0" i="0" kern="1200">
          <a:solidFill>
            <a:schemeClr val="bg2"/>
          </a:solidFill>
          <a:latin typeface="IBM Plex Sans" charset="0"/>
          <a:ea typeface="IBM Plex Sans" charset="0"/>
          <a:cs typeface="IBM Plex Sans" charset="0"/>
        </a:defRPr>
      </a:lvl2pPr>
      <a:lvl3pPr marL="762015" indent="-381008" algn="l" defTabSz="1828837" rtl="0" eaLnBrk="1" latinLnBrk="0" hangingPunct="1">
        <a:lnSpc>
          <a:spcPct val="105000"/>
        </a:lnSpc>
        <a:spcBef>
          <a:spcPts val="1000"/>
        </a:spcBef>
        <a:buSzPct val="80000"/>
        <a:buFont typeface="Arial" panose="020B0604020202020204" pitchFamily="34" charset="0"/>
        <a:buChar char="–"/>
        <a:defRPr sz="3333" b="0" i="0" kern="1200">
          <a:solidFill>
            <a:schemeClr val="bg2"/>
          </a:solidFill>
          <a:latin typeface="IBM Plex Sans" charset="0"/>
          <a:ea typeface="IBM Plex Sans" charset="0"/>
          <a:cs typeface="IBM Plex Sans" charset="0"/>
        </a:defRPr>
      </a:lvl3pPr>
      <a:lvl4pPr marL="1143023" indent="-381008" algn="l" defTabSz="1828837" rtl="0" eaLnBrk="1" latinLnBrk="0" hangingPunct="1">
        <a:lnSpc>
          <a:spcPct val="105000"/>
        </a:lnSpc>
        <a:spcBef>
          <a:spcPts val="1000"/>
        </a:spcBef>
        <a:buFont typeface="Arial" panose="020B0604020202020204" pitchFamily="34" charset="0"/>
        <a:buChar char="•"/>
        <a:defRPr sz="3333" b="0" i="0" kern="1200">
          <a:solidFill>
            <a:schemeClr val="bg2"/>
          </a:solidFill>
          <a:latin typeface="IBM Plex Sans" charset="0"/>
          <a:ea typeface="IBM Plex Sans" charset="0"/>
          <a:cs typeface="IBM Plex Sans" charset="0"/>
        </a:defRPr>
      </a:lvl4pPr>
      <a:lvl5pPr marL="1524030" indent="-381008" algn="l" defTabSz="1828837" rtl="0" eaLnBrk="1" latinLnBrk="0" hangingPunct="1">
        <a:lnSpc>
          <a:spcPct val="105000"/>
        </a:lnSpc>
        <a:spcBef>
          <a:spcPts val="1000"/>
        </a:spcBef>
        <a:buSzPct val="80000"/>
        <a:buFont typeface="Arial" panose="020B0604020202020204" pitchFamily="34" charset="0"/>
        <a:buChar char="–"/>
        <a:defRPr sz="3333" b="0" i="0" kern="1200">
          <a:solidFill>
            <a:schemeClr val="bg2"/>
          </a:solidFill>
          <a:latin typeface="IBM Plex Sans" charset="0"/>
          <a:ea typeface="IBM Plex Sans" charset="0"/>
          <a:cs typeface="IBM Plex Sans" charset="0"/>
        </a:defRPr>
      </a:lvl5pPr>
      <a:lvl6pPr marL="5029301" indent="-457209" algn="l" defTabSz="1828837"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719" indent="-457209" algn="l" defTabSz="1828837"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137" indent="-457209" algn="l" defTabSz="1828837"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555" indent="-457209" algn="l" defTabSz="1828837"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37" rtl="0" eaLnBrk="1" latinLnBrk="0" hangingPunct="1">
        <a:defRPr sz="3600" kern="1200">
          <a:solidFill>
            <a:schemeClr val="tx1"/>
          </a:solidFill>
          <a:latin typeface="+mn-lt"/>
          <a:ea typeface="+mn-ea"/>
          <a:cs typeface="+mn-cs"/>
        </a:defRPr>
      </a:lvl1pPr>
      <a:lvl2pPr marL="914418" algn="l" defTabSz="1828837" rtl="0" eaLnBrk="1" latinLnBrk="0" hangingPunct="1">
        <a:defRPr sz="3600" kern="1200">
          <a:solidFill>
            <a:schemeClr val="tx1"/>
          </a:solidFill>
          <a:latin typeface="+mn-lt"/>
          <a:ea typeface="+mn-ea"/>
          <a:cs typeface="+mn-cs"/>
        </a:defRPr>
      </a:lvl2pPr>
      <a:lvl3pPr marL="1828837" algn="l" defTabSz="1828837" rtl="0" eaLnBrk="1" latinLnBrk="0" hangingPunct="1">
        <a:defRPr sz="3600" kern="1200">
          <a:solidFill>
            <a:schemeClr val="tx1"/>
          </a:solidFill>
          <a:latin typeface="+mn-lt"/>
          <a:ea typeface="+mn-ea"/>
          <a:cs typeface="+mn-cs"/>
        </a:defRPr>
      </a:lvl3pPr>
      <a:lvl4pPr marL="2743255" algn="l" defTabSz="1828837" rtl="0" eaLnBrk="1" latinLnBrk="0" hangingPunct="1">
        <a:defRPr sz="3600" kern="1200">
          <a:solidFill>
            <a:schemeClr val="tx1"/>
          </a:solidFill>
          <a:latin typeface="+mn-lt"/>
          <a:ea typeface="+mn-ea"/>
          <a:cs typeface="+mn-cs"/>
        </a:defRPr>
      </a:lvl4pPr>
      <a:lvl5pPr marL="3657673" algn="l" defTabSz="1828837" rtl="0" eaLnBrk="1" latinLnBrk="0" hangingPunct="1">
        <a:defRPr sz="3600" kern="1200">
          <a:solidFill>
            <a:schemeClr val="tx1"/>
          </a:solidFill>
          <a:latin typeface="+mn-lt"/>
          <a:ea typeface="+mn-ea"/>
          <a:cs typeface="+mn-cs"/>
        </a:defRPr>
      </a:lvl5pPr>
      <a:lvl6pPr marL="4572091" algn="l" defTabSz="1828837" rtl="0" eaLnBrk="1" latinLnBrk="0" hangingPunct="1">
        <a:defRPr sz="3600" kern="1200">
          <a:solidFill>
            <a:schemeClr val="tx1"/>
          </a:solidFill>
          <a:latin typeface="+mn-lt"/>
          <a:ea typeface="+mn-ea"/>
          <a:cs typeface="+mn-cs"/>
        </a:defRPr>
      </a:lvl6pPr>
      <a:lvl7pPr marL="5486510" algn="l" defTabSz="1828837" rtl="0" eaLnBrk="1" latinLnBrk="0" hangingPunct="1">
        <a:defRPr sz="3600" kern="1200">
          <a:solidFill>
            <a:schemeClr val="tx1"/>
          </a:solidFill>
          <a:latin typeface="+mn-lt"/>
          <a:ea typeface="+mn-ea"/>
          <a:cs typeface="+mn-cs"/>
        </a:defRPr>
      </a:lvl7pPr>
      <a:lvl8pPr marL="6400928" algn="l" defTabSz="1828837" rtl="0" eaLnBrk="1" latinLnBrk="0" hangingPunct="1">
        <a:defRPr sz="3600" kern="1200">
          <a:solidFill>
            <a:schemeClr val="tx1"/>
          </a:solidFill>
          <a:latin typeface="+mn-lt"/>
          <a:ea typeface="+mn-ea"/>
          <a:cs typeface="+mn-cs"/>
        </a:defRPr>
      </a:lvl8pPr>
      <a:lvl9pPr marL="7315346" algn="l" defTabSz="1828837" rtl="0" eaLnBrk="1" latinLnBrk="0" hangingPunct="1">
        <a:defRPr sz="3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19200" y="491639"/>
            <a:ext cx="20272320" cy="1468310"/>
          </a:xfrm>
          <a:prstGeom prst="rect">
            <a:avLst/>
          </a:prstGeom>
        </p:spPr>
        <p:txBody>
          <a:bodyPr vert="horz" lIns="121917" tIns="60958" rIns="121917" bIns="60958"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19200" y="3200403"/>
            <a:ext cx="22415408" cy="9051926"/>
          </a:xfrm>
          <a:prstGeom prst="rect">
            <a:avLst/>
          </a:prstGeom>
        </p:spPr>
        <p:txBody>
          <a:bodyPr vert="horz" lIns="121917" tIns="60958" rIns="121917" bIns="6095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5201" y="12712703"/>
            <a:ext cx="6159410" cy="730250"/>
          </a:xfrm>
          <a:prstGeom prst="rect">
            <a:avLst/>
          </a:prstGeom>
        </p:spPr>
        <p:txBody>
          <a:bodyPr vert="horz" lIns="121917" tIns="60958" rIns="121917" bIns="60958" rtlCol="0" anchor="b"/>
          <a:lstStyle>
            <a:lvl1pPr algn="r">
              <a:defRPr sz="2400">
                <a:solidFill>
                  <a:srgbClr val="1C293D"/>
                </a:solidFill>
                <a:latin typeface="IBM Plex Sans"/>
                <a:cs typeface="IBM Plex Sans"/>
              </a:defRPr>
            </a:lvl1pPr>
          </a:lstStyle>
          <a:p>
            <a:fld id="{F2104BB4-88E0-9547-9C3D-EE95037318C2}" type="slidenum">
              <a:rPr lang="en-US" smtClean="0"/>
              <a:t>‹#›</a:t>
            </a:fld>
            <a:endParaRPr lang="en-US"/>
          </a:p>
        </p:txBody>
      </p:sp>
    </p:spTree>
    <p:extLst>
      <p:ext uri="{BB962C8B-B14F-4D97-AF65-F5344CB8AC3E}">
        <p14:creationId xmlns:p14="http://schemas.microsoft.com/office/powerpoint/2010/main" val="2162075934"/>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 id="2147484037" r:id="rId19"/>
    <p:sldLayoutId id="2147484038" r:id="rId20"/>
    <p:sldLayoutId id="2147484039" r:id="rId21"/>
    <p:sldLayoutId id="2147484040" r:id="rId22"/>
    <p:sldLayoutId id="2147484041" r:id="rId23"/>
    <p:sldLayoutId id="2147484042" r:id="rId24"/>
    <p:sldLayoutId id="2147484043" r:id="rId25"/>
  </p:sldLayoutIdLst>
  <p:txStyles>
    <p:titleStyle>
      <a:lvl1pPr algn="l" defTabSz="1219170" rtl="0" eaLnBrk="1" latinLnBrk="0" hangingPunct="1">
        <a:spcBef>
          <a:spcPct val="0"/>
        </a:spcBef>
        <a:buNone/>
        <a:defRPr sz="5400" kern="1200">
          <a:solidFill>
            <a:schemeClr val="tx1"/>
          </a:solidFill>
          <a:latin typeface="IBM Plex Sans"/>
          <a:ea typeface="+mj-ea"/>
          <a:cs typeface="IBM Plex Sans"/>
        </a:defRPr>
      </a:lvl1pPr>
    </p:titleStyle>
    <p:bodyStyle>
      <a:lvl1pPr marL="605352" indent="-605352" algn="l" defTabSz="1219170" rtl="0" eaLnBrk="1" latinLnBrk="0" hangingPunct="1">
        <a:spcBef>
          <a:spcPct val="20000"/>
        </a:spcBef>
        <a:buFont typeface="Arial"/>
        <a:buChar char="•"/>
        <a:defRPr sz="4200" kern="1200">
          <a:solidFill>
            <a:schemeClr val="tx1"/>
          </a:solidFill>
          <a:latin typeface="IBM Plex Sans"/>
          <a:ea typeface="+mn-ea"/>
          <a:cs typeface="IBM Plex Sans"/>
        </a:defRPr>
      </a:lvl1pPr>
      <a:lvl2pPr marL="1223404" indent="-618052" algn="l" defTabSz="1219170" rtl="0" eaLnBrk="1" latinLnBrk="0" hangingPunct="1">
        <a:spcBef>
          <a:spcPct val="20000"/>
        </a:spcBef>
        <a:buFont typeface="Arial"/>
        <a:buChar char="–"/>
        <a:defRPr sz="3800" kern="1200">
          <a:solidFill>
            <a:schemeClr val="tx1"/>
          </a:solidFill>
          <a:latin typeface="IBM Plex Sans"/>
          <a:ea typeface="+mn-ea"/>
          <a:cs typeface="IBM Plex Sans"/>
        </a:defRPr>
      </a:lvl2pPr>
      <a:lvl3pPr marL="1828754" indent="-605352" algn="l" defTabSz="1219170" rtl="0" eaLnBrk="1" latinLnBrk="0" hangingPunct="1">
        <a:spcBef>
          <a:spcPct val="20000"/>
        </a:spcBef>
        <a:buFont typeface="Arial"/>
        <a:buChar char="•"/>
        <a:defRPr sz="3200" kern="1200">
          <a:solidFill>
            <a:schemeClr val="tx1"/>
          </a:solidFill>
          <a:latin typeface="IBM Plex Sans"/>
          <a:ea typeface="+mn-ea"/>
          <a:cs typeface="IBM Plex Sans"/>
        </a:defRPr>
      </a:lvl3pPr>
      <a:lvl4pPr marL="2434108" indent="-605352" algn="l" defTabSz="1219170" rtl="0" eaLnBrk="1" latinLnBrk="0" hangingPunct="1">
        <a:spcBef>
          <a:spcPct val="20000"/>
        </a:spcBef>
        <a:buFont typeface="Arial"/>
        <a:buChar char="–"/>
        <a:defRPr sz="3000" kern="1200">
          <a:solidFill>
            <a:schemeClr val="tx1"/>
          </a:solidFill>
          <a:latin typeface="IBM Plex Sans"/>
          <a:ea typeface="+mn-ea"/>
          <a:cs typeface="IBM Plex Sans"/>
        </a:defRPr>
      </a:lvl4pPr>
      <a:lvl5pPr marL="3056390" indent="-622286" algn="l" defTabSz="1219170" rtl="0" eaLnBrk="1" latinLnBrk="0" hangingPunct="1">
        <a:spcBef>
          <a:spcPct val="20000"/>
        </a:spcBef>
        <a:buFont typeface="Arial"/>
        <a:buChar char="»"/>
        <a:defRPr sz="3000" kern="1200">
          <a:solidFill>
            <a:schemeClr val="tx1"/>
          </a:solidFill>
          <a:latin typeface="IBM Plex Sans"/>
          <a:ea typeface="+mn-ea"/>
          <a:cs typeface="IBM Plex Sans"/>
        </a:defRPr>
      </a:lvl5pPr>
      <a:lvl6pPr marL="6705432" indent="-609584" algn="l" defTabSz="1219170" rtl="0" eaLnBrk="1" latinLnBrk="0" hangingPunct="1">
        <a:spcBef>
          <a:spcPct val="20000"/>
        </a:spcBef>
        <a:buFont typeface="Arial"/>
        <a:buChar char="•"/>
        <a:defRPr sz="5400" kern="1200">
          <a:solidFill>
            <a:schemeClr val="tx1"/>
          </a:solidFill>
          <a:latin typeface="+mn-lt"/>
          <a:ea typeface="+mn-ea"/>
          <a:cs typeface="+mn-cs"/>
        </a:defRPr>
      </a:lvl6pPr>
      <a:lvl7pPr marL="7924602" indent="-609584" algn="l" defTabSz="1219170" rtl="0" eaLnBrk="1" latinLnBrk="0" hangingPunct="1">
        <a:spcBef>
          <a:spcPct val="20000"/>
        </a:spcBef>
        <a:buFont typeface="Arial"/>
        <a:buChar char="•"/>
        <a:defRPr sz="5400" kern="1200">
          <a:solidFill>
            <a:schemeClr val="tx1"/>
          </a:solidFill>
          <a:latin typeface="+mn-lt"/>
          <a:ea typeface="+mn-ea"/>
          <a:cs typeface="+mn-cs"/>
        </a:defRPr>
      </a:lvl7pPr>
      <a:lvl8pPr marL="9143772" indent="-609584" algn="l" defTabSz="1219170" rtl="0" eaLnBrk="1" latinLnBrk="0" hangingPunct="1">
        <a:spcBef>
          <a:spcPct val="20000"/>
        </a:spcBef>
        <a:buFont typeface="Arial"/>
        <a:buChar char="•"/>
        <a:defRPr sz="5400" kern="1200">
          <a:solidFill>
            <a:schemeClr val="tx1"/>
          </a:solidFill>
          <a:latin typeface="+mn-lt"/>
          <a:ea typeface="+mn-ea"/>
          <a:cs typeface="+mn-cs"/>
        </a:defRPr>
      </a:lvl8pPr>
      <a:lvl9pPr marL="10362940" indent="-609584" algn="l" defTabSz="1219170" rtl="0" eaLnBrk="1" latinLnBrk="0" hangingPunct="1">
        <a:spcBef>
          <a:spcPct val="20000"/>
        </a:spcBef>
        <a:buFont typeface="Arial"/>
        <a:buChar char="•"/>
        <a:defRPr sz="5400" kern="1200">
          <a:solidFill>
            <a:schemeClr val="tx1"/>
          </a:solidFill>
          <a:latin typeface="+mn-lt"/>
          <a:ea typeface="+mn-ea"/>
          <a:cs typeface="+mn-cs"/>
        </a:defRPr>
      </a:lvl9pPr>
    </p:bodyStyle>
    <p:otherStyle>
      <a:defPPr>
        <a:defRPr lang="en-US"/>
      </a:defPPr>
      <a:lvl1pPr marL="0" algn="l" defTabSz="1219170" rtl="0" eaLnBrk="1" latinLnBrk="0" hangingPunct="1">
        <a:defRPr sz="4800" kern="1200">
          <a:solidFill>
            <a:schemeClr val="tx1"/>
          </a:solidFill>
          <a:latin typeface="+mn-lt"/>
          <a:ea typeface="+mn-ea"/>
          <a:cs typeface="+mn-cs"/>
        </a:defRPr>
      </a:lvl1pPr>
      <a:lvl2pPr marL="1219170" algn="l" defTabSz="1219170" rtl="0" eaLnBrk="1" latinLnBrk="0" hangingPunct="1">
        <a:defRPr sz="4800" kern="1200">
          <a:solidFill>
            <a:schemeClr val="tx1"/>
          </a:solidFill>
          <a:latin typeface="+mn-lt"/>
          <a:ea typeface="+mn-ea"/>
          <a:cs typeface="+mn-cs"/>
        </a:defRPr>
      </a:lvl2pPr>
      <a:lvl3pPr marL="2438340" algn="l" defTabSz="1219170" rtl="0" eaLnBrk="1" latinLnBrk="0" hangingPunct="1">
        <a:defRPr sz="4800" kern="1200">
          <a:solidFill>
            <a:schemeClr val="tx1"/>
          </a:solidFill>
          <a:latin typeface="+mn-lt"/>
          <a:ea typeface="+mn-ea"/>
          <a:cs typeface="+mn-cs"/>
        </a:defRPr>
      </a:lvl3pPr>
      <a:lvl4pPr marL="3657508" algn="l" defTabSz="1219170" rtl="0" eaLnBrk="1" latinLnBrk="0" hangingPunct="1">
        <a:defRPr sz="4800" kern="1200">
          <a:solidFill>
            <a:schemeClr val="tx1"/>
          </a:solidFill>
          <a:latin typeface="+mn-lt"/>
          <a:ea typeface="+mn-ea"/>
          <a:cs typeface="+mn-cs"/>
        </a:defRPr>
      </a:lvl4pPr>
      <a:lvl5pPr marL="4876678" algn="l" defTabSz="1219170" rtl="0" eaLnBrk="1" latinLnBrk="0" hangingPunct="1">
        <a:defRPr sz="4800" kern="1200">
          <a:solidFill>
            <a:schemeClr val="tx1"/>
          </a:solidFill>
          <a:latin typeface="+mn-lt"/>
          <a:ea typeface="+mn-ea"/>
          <a:cs typeface="+mn-cs"/>
        </a:defRPr>
      </a:lvl5pPr>
      <a:lvl6pPr marL="6095848" algn="l" defTabSz="1219170" rtl="0" eaLnBrk="1" latinLnBrk="0" hangingPunct="1">
        <a:defRPr sz="4800" kern="1200">
          <a:solidFill>
            <a:schemeClr val="tx1"/>
          </a:solidFill>
          <a:latin typeface="+mn-lt"/>
          <a:ea typeface="+mn-ea"/>
          <a:cs typeface="+mn-cs"/>
        </a:defRPr>
      </a:lvl6pPr>
      <a:lvl7pPr marL="7315018" algn="l" defTabSz="1219170" rtl="0" eaLnBrk="1" latinLnBrk="0" hangingPunct="1">
        <a:defRPr sz="4800" kern="1200">
          <a:solidFill>
            <a:schemeClr val="tx1"/>
          </a:solidFill>
          <a:latin typeface="+mn-lt"/>
          <a:ea typeface="+mn-ea"/>
          <a:cs typeface="+mn-cs"/>
        </a:defRPr>
      </a:lvl7pPr>
      <a:lvl8pPr marL="8534186" algn="l" defTabSz="1219170" rtl="0" eaLnBrk="1" latinLnBrk="0" hangingPunct="1">
        <a:defRPr sz="4800" kern="1200">
          <a:solidFill>
            <a:schemeClr val="tx1"/>
          </a:solidFill>
          <a:latin typeface="+mn-lt"/>
          <a:ea typeface="+mn-ea"/>
          <a:cs typeface="+mn-cs"/>
        </a:defRPr>
      </a:lvl8pPr>
      <a:lvl9pPr marL="9753356" algn="l" defTabSz="1219170" rtl="0" eaLnBrk="1" latinLnBrk="0" hangingPunct="1">
        <a:defRPr sz="4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45.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xml"/><Relationship Id="rId1" Type="http://schemas.openxmlformats.org/officeDocument/2006/relationships/slideLayout" Target="../slideLayouts/slideLayout254.xml"/></Relationships>
</file>

<file path=ppt/slides/_rels/slide1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9.xml"/><Relationship Id="rId1" Type="http://schemas.openxmlformats.org/officeDocument/2006/relationships/slideLayout" Target="../slideLayouts/slideLayout228.xml"/><Relationship Id="rId4" Type="http://schemas.openxmlformats.org/officeDocument/2006/relationships/image" Target="../media/image73.png"/></Relationships>
</file>

<file path=ppt/slides/_rels/slide12.xml.rels><?xml version="1.0" encoding="UTF-8" standalone="yes"?>
<Relationships xmlns="http://schemas.openxmlformats.org/package/2006/relationships"><Relationship Id="rId3" Type="http://schemas.openxmlformats.org/officeDocument/2006/relationships/hyperlink" Target="https://www.linkedin.com/" TargetMode="External"/><Relationship Id="rId2" Type="http://schemas.openxmlformats.org/officeDocument/2006/relationships/image" Target="../media/image72.png"/><Relationship Id="rId1" Type="http://schemas.openxmlformats.org/officeDocument/2006/relationships/slideLayout" Target="../slideLayouts/slideLayout1.xml"/><Relationship Id="rId6" Type="http://schemas.openxmlformats.org/officeDocument/2006/relationships/image" Target="../media/image102.png"/><Relationship Id="rId5" Type="http://schemas.openxmlformats.org/officeDocument/2006/relationships/image" Target="../media/image71.jpg"/><Relationship Id="rId4" Type="http://schemas.openxmlformats.org/officeDocument/2006/relationships/image" Target="../media/image10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126.xml"/><Relationship Id="rId5" Type="http://schemas.openxmlformats.org/officeDocument/2006/relationships/image" Target="../media/image3.jpeg"/><Relationship Id="rId4" Type="http://schemas.openxmlformats.org/officeDocument/2006/relationships/image" Target="../media/image103.png"/></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9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3.xml"/></Relationships>
</file>

<file path=ppt/slides/_rels/slide18.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107.png"/><Relationship Id="rId2" Type="http://schemas.openxmlformats.org/officeDocument/2006/relationships/notesSlide" Target="../notesSlides/notesSlide15.xml"/><Relationship Id="rId1" Type="http://schemas.openxmlformats.org/officeDocument/2006/relationships/slideLayout" Target="../slideLayouts/slideLayout126.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3.xml"/></Relationships>
</file>

<file path=ppt/slides/_rels/slide2.xml.rels><?xml version="1.0" encoding="UTF-8" standalone="yes"?>
<Relationships xmlns="http://schemas.openxmlformats.org/package/2006/relationships"><Relationship Id="rId8" Type="http://schemas.openxmlformats.org/officeDocument/2006/relationships/hyperlink" Target="https://ibmsc.lightning.force.com/lightning/page/home" TargetMode="External"/><Relationship Id="rId13" Type="http://schemas.openxmlformats.org/officeDocument/2006/relationships/hyperlink" Target="https://ibm.ent.box.com/file/962862935600" TargetMode="External"/><Relationship Id="rId18" Type="http://schemas.openxmlformats.org/officeDocument/2006/relationships/image" Target="../media/image67.png"/><Relationship Id="rId3" Type="http://schemas.openxmlformats.org/officeDocument/2006/relationships/image" Target="../media/image2.png"/><Relationship Id="rId21" Type="http://schemas.openxmlformats.org/officeDocument/2006/relationships/image" Target="../media/image70.png"/><Relationship Id="rId7" Type="http://schemas.openxmlformats.org/officeDocument/2006/relationships/hyperlink" Target="https://www.ibm.com/support/pages/lifecycle/" TargetMode="External"/><Relationship Id="rId12" Type="http://schemas.openxmlformats.org/officeDocument/2006/relationships/hyperlink" Target="https://w3.ibm.com/w3publisher/customersuccess/get-connected/tools-of-the-trade" TargetMode="External"/><Relationship Id="rId17" Type="http://schemas.openxmlformats.org/officeDocument/2006/relationships/image" Target="../media/image66.png"/><Relationship Id="rId2" Type="http://schemas.openxmlformats.org/officeDocument/2006/relationships/image" Target="../media/image3.jpeg"/><Relationship Id="rId16" Type="http://schemas.openxmlformats.org/officeDocument/2006/relationships/image" Target="../media/image65.png"/><Relationship Id="rId20" Type="http://schemas.openxmlformats.org/officeDocument/2006/relationships/image" Target="../media/image69.png"/><Relationship Id="rId1" Type="http://schemas.openxmlformats.org/officeDocument/2006/relationships/slideLayout" Target="../slideLayouts/slideLayout145.xml"/><Relationship Id="rId6" Type="http://schemas.openxmlformats.org/officeDocument/2006/relationships/hyperlink" Target="https://w3.ibm.com/tools/caseviewer/case/(TSxxxx)" TargetMode="External"/><Relationship Id="rId11" Type="http://schemas.openxmlformats.org/officeDocument/2006/relationships/hyperlink" Target="https://w3.ibm.com/w3publisher/customersuccess/spotlight-stories" TargetMode="External"/><Relationship Id="rId5" Type="http://schemas.openxmlformats.org/officeDocument/2006/relationships/hyperlink" Target="https://fastpass.w3cloud.ibm.com/sales/fastpass/entitlements.jsp" TargetMode="External"/><Relationship Id="rId15" Type="http://schemas.openxmlformats.org/officeDocument/2006/relationships/image" Target="../media/image64.png"/><Relationship Id="rId10" Type="http://schemas.openxmlformats.org/officeDocument/2006/relationships/hyperlink" Target="https://pages.github.ibm.com/csm-use-cases/ui/" TargetMode="External"/><Relationship Id="rId19" Type="http://schemas.openxmlformats.org/officeDocument/2006/relationships/image" Target="../media/image68.png"/><Relationship Id="rId4" Type="http://schemas.openxmlformats.org/officeDocument/2006/relationships/hyperlink" Target="https://pages.github.ibm.com/csm-playbook/playbook/" TargetMode="External"/><Relationship Id="rId9" Type="http://schemas.openxmlformats.org/officeDocument/2006/relationships/hyperlink" Target="https://rv.roinnovation.com/IBM/HomeV3.aspx" TargetMode="External"/><Relationship Id="rId14" Type="http://schemas.openxmlformats.org/officeDocument/2006/relationships/image" Target="../media/image63.png"/></Relationships>
</file>

<file path=ppt/slides/_rels/slide20.xml.rels><?xml version="1.0" encoding="UTF-8" standalone="yes"?>
<Relationships xmlns="http://schemas.openxmlformats.org/package/2006/relationships"><Relationship Id="rId3" Type="http://schemas.openxmlformats.org/officeDocument/2006/relationships/image" Target="../media/image109.tif"/><Relationship Id="rId2" Type="http://schemas.openxmlformats.org/officeDocument/2006/relationships/image" Target="../media/image108.tif"/><Relationship Id="rId1" Type="http://schemas.openxmlformats.org/officeDocument/2006/relationships/slideLayout" Target="../slideLayouts/slideLayout298.xml"/><Relationship Id="rId6" Type="http://schemas.openxmlformats.org/officeDocument/2006/relationships/image" Target="../media/image112.tif"/><Relationship Id="rId5" Type="http://schemas.openxmlformats.org/officeDocument/2006/relationships/image" Target="../media/image111.tif"/><Relationship Id="rId4" Type="http://schemas.openxmlformats.org/officeDocument/2006/relationships/image" Target="../media/image110.ti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9.xml"/></Relationships>
</file>

<file path=ppt/slides/_rels/slide2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116.svg"/><Relationship Id="rId3" Type="http://schemas.openxmlformats.org/officeDocument/2006/relationships/image" Target="../media/image82.png"/><Relationship Id="rId7" Type="http://schemas.openxmlformats.org/officeDocument/2006/relationships/image" Target="../media/image84.png"/><Relationship Id="rId12" Type="http://schemas.openxmlformats.org/officeDocument/2006/relationships/image" Target="../media/image115.png"/><Relationship Id="rId2" Type="http://schemas.openxmlformats.org/officeDocument/2006/relationships/notesSlide" Target="../notesSlides/notesSlide17.xml"/><Relationship Id="rId1" Type="http://schemas.openxmlformats.org/officeDocument/2006/relationships/slideLayout" Target="../slideLayouts/slideLayout293.xml"/><Relationship Id="rId6" Type="http://schemas.openxmlformats.org/officeDocument/2006/relationships/image" Target="../media/image114.png"/><Relationship Id="rId11" Type="http://schemas.openxmlformats.org/officeDocument/2006/relationships/image" Target="../media/image88.png"/><Relationship Id="rId5" Type="http://schemas.openxmlformats.org/officeDocument/2006/relationships/image" Target="../media/image113.png"/><Relationship Id="rId10" Type="http://schemas.openxmlformats.org/officeDocument/2006/relationships/image" Target="../media/image87.png"/><Relationship Id="rId4" Type="http://schemas.openxmlformats.org/officeDocument/2006/relationships/image" Target="../media/image73.png"/><Relationship Id="rId9" Type="http://schemas.openxmlformats.org/officeDocument/2006/relationships/image" Target="../media/image86.png"/><Relationship Id="rId14" Type="http://schemas.openxmlformats.org/officeDocument/2006/relationships/image" Target="../media/image72.png"/></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283.xml"/><Relationship Id="rId4" Type="http://schemas.openxmlformats.org/officeDocument/2006/relationships/hyperlink" Target="https://pages.github.ibm.com/csm-use-cases/ui/"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rv.roinnovation.com/IBM/HomeV3.aspx" TargetMode="External"/><Relationship Id="rId2" Type="http://schemas.openxmlformats.org/officeDocument/2006/relationships/notesSlide" Target="../notesSlides/notesSlide19.xml"/><Relationship Id="rId1" Type="http://schemas.openxmlformats.org/officeDocument/2006/relationships/slideLayout" Target="../slideLayouts/slideLayout283.xml"/><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hyperlink" Target="https://w3.ibm.com/w3publisher/customersuccess/spotlight-stories" TargetMode="External"/><Relationship Id="rId2" Type="http://schemas.openxmlformats.org/officeDocument/2006/relationships/notesSlide" Target="../notesSlides/notesSlide20.xml"/><Relationship Id="rId1" Type="http://schemas.openxmlformats.org/officeDocument/2006/relationships/slideLayout" Target="../slideLayouts/slideLayout283.xml"/><Relationship Id="rId4" Type="http://schemas.openxmlformats.org/officeDocument/2006/relationships/image" Target="../media/image73.png"/></Relationships>
</file>

<file path=ppt/slides/_rels/slide3.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72.png"/></Relationships>
</file>

<file path=ppt/slides/_rels/slide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xml"/><Relationship Id="rId1" Type="http://schemas.openxmlformats.org/officeDocument/2006/relationships/slideLayout" Target="../slideLayouts/slideLayout143.xml"/><Relationship Id="rId4" Type="http://schemas.openxmlformats.org/officeDocument/2006/relationships/image" Target="../media/image72.png"/></Relationships>
</file>

<file path=ppt/slides/_rels/slide5.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74.png"/><Relationship Id="rId7"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126.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126.xml"/><Relationship Id="rId4" Type="http://schemas.openxmlformats.org/officeDocument/2006/relationships/image" Target="../media/image73.png"/></Relationships>
</file>

<file path=ppt/slides/_rels/slide7.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png"/><Relationship Id="rId2" Type="http://schemas.openxmlformats.org/officeDocument/2006/relationships/notesSlide" Target="../notesSlides/notesSlide5.xml"/><Relationship Id="rId16" Type="http://schemas.openxmlformats.org/officeDocument/2006/relationships/image" Target="../media/image73.png"/><Relationship Id="rId1" Type="http://schemas.openxmlformats.org/officeDocument/2006/relationships/slideLayout" Target="../slideLayouts/slideLayout142.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89.png"/><Relationship Id="rId10" Type="http://schemas.openxmlformats.org/officeDocument/2006/relationships/image" Target="../media/image85.png"/><Relationship Id="rId4" Type="http://schemas.openxmlformats.org/officeDocument/2006/relationships/image" Target="../media/image79.svg"/><Relationship Id="rId9" Type="http://schemas.openxmlformats.org/officeDocument/2006/relationships/image" Target="../media/image84.png"/><Relationship Id="rId14" Type="http://schemas.openxmlformats.org/officeDocument/2006/relationships/image" Target="../media/image72.png"/></Relationships>
</file>

<file path=ppt/slides/_rels/slide8.xml.rels><?xml version="1.0" encoding="UTF-8" standalone="yes"?>
<Relationships xmlns="http://schemas.openxmlformats.org/package/2006/relationships"><Relationship Id="rId8" Type="http://schemas.openxmlformats.org/officeDocument/2006/relationships/image" Target="../media/image95.tiff"/><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6.xml"/><Relationship Id="rId1" Type="http://schemas.openxmlformats.org/officeDocument/2006/relationships/slideLayout" Target="../slideLayouts/slideLayout142.xml"/><Relationship Id="rId6" Type="http://schemas.openxmlformats.org/officeDocument/2006/relationships/image" Target="../media/image93.png"/><Relationship Id="rId5" Type="http://schemas.openxmlformats.org/officeDocument/2006/relationships/image" Target="../media/image92.svg"/><Relationship Id="rId4" Type="http://schemas.openxmlformats.org/officeDocument/2006/relationships/image" Target="../media/image91.png"/><Relationship Id="rId9" Type="http://schemas.openxmlformats.org/officeDocument/2006/relationships/image" Target="../media/image96.png"/></Relationships>
</file>

<file path=ppt/slides/_rels/slide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7.xml"/><Relationship Id="rId1" Type="http://schemas.openxmlformats.org/officeDocument/2006/relationships/slideLayout" Target="../slideLayouts/slideLayout126.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B18EEF9-E704-4744-8A55-1D1896FCC408}"/>
              </a:ext>
            </a:extLst>
          </p:cNvPr>
          <p:cNvSpPr>
            <a:spLocks noGrp="1"/>
          </p:cNvSpPr>
          <p:nvPr>
            <p:ph type="body" sz="quarter" idx="13"/>
          </p:nvPr>
        </p:nvSpPr>
        <p:spPr>
          <a:xfrm>
            <a:off x="532112" y="2739234"/>
            <a:ext cx="23021232" cy="8672576"/>
          </a:xfrm>
        </p:spPr>
        <p:txBody>
          <a:bodyPr/>
          <a:lstStyle/>
          <a:p>
            <a:pPr>
              <a:buClrTx/>
            </a:pPr>
            <a:r>
              <a:rPr lang="en-US" sz="4000" u="sng" dirty="0">
                <a:latin typeface="IBM Plex Sans" panose="020B0503050203000203" pitchFamily="34" charset="0"/>
              </a:rPr>
              <a:t>Goal:</a:t>
            </a:r>
            <a:r>
              <a:rPr lang="en-US" sz="4000" dirty="0">
                <a:latin typeface="IBM Plex Sans" panose="020B0503050203000203" pitchFamily="34" charset="0"/>
              </a:rPr>
              <a:t> </a:t>
            </a:r>
            <a:r>
              <a:rPr lang="en-US" sz="4000" b="0" dirty="0">
                <a:latin typeface="IBM Plex Sans" panose="020B0503050203000203" pitchFamily="34" charset="0"/>
              </a:rPr>
              <a:t>Engage with customers maximizing business impact out of co-innovation and                                     Cloud </a:t>
            </a:r>
            <a:r>
              <a:rPr lang="en-US" sz="4000" b="0" dirty="0" err="1">
                <a:latin typeface="IBM Plex Sans" panose="020B0503050203000203" pitchFamily="34" charset="0"/>
              </a:rPr>
              <a:t>Paks</a:t>
            </a:r>
            <a:r>
              <a:rPr lang="en-US" sz="4000" b="0" dirty="0">
                <a:latin typeface="IBM Plex Sans" panose="020B0503050203000203" pitchFamily="34" charset="0"/>
              </a:rPr>
              <a:t> deployments </a:t>
            </a:r>
          </a:p>
          <a:p>
            <a:pPr>
              <a:buClrTx/>
            </a:pPr>
            <a:r>
              <a:rPr lang="en-US" sz="4000" u="sng" dirty="0">
                <a:latin typeface="IBM Plex Sans" panose="020B0503050203000203" pitchFamily="34" charset="0"/>
              </a:rPr>
              <a:t>Outcome: </a:t>
            </a:r>
          </a:p>
          <a:p>
            <a:pPr marL="571500" indent="-571500">
              <a:buClrTx/>
              <a:buFont typeface="Wingdings" pitchFamily="2" charset="2"/>
              <a:buChar char="à"/>
            </a:pPr>
            <a:r>
              <a:rPr lang="en-US" sz="4000" b="0" dirty="0">
                <a:latin typeface="IBM Plex Sans" panose="020B0503050203000203" pitchFamily="34" charset="0"/>
                <a:sym typeface="Wingdings" pitchFamily="2" charset="2"/>
              </a:rPr>
              <a:t>Alignment with customer/partners on CSM scope of engagement activities </a:t>
            </a:r>
          </a:p>
          <a:p>
            <a:pPr marL="571500" indent="-571500">
              <a:buClrTx/>
              <a:buFont typeface="Wingdings" pitchFamily="2" charset="2"/>
              <a:buChar char="à"/>
            </a:pPr>
            <a:r>
              <a:rPr lang="en-US" sz="4000" b="0" dirty="0">
                <a:latin typeface="IBM Plex Sans" panose="020B0503050203000203" pitchFamily="34" charset="0"/>
                <a:sym typeface="Wingdings" pitchFamily="2" charset="2"/>
              </a:rPr>
              <a:t>High Level engagement plan </a:t>
            </a:r>
          </a:p>
          <a:p>
            <a:pPr marL="571500" indent="-571500">
              <a:buClrTx/>
              <a:buFont typeface="Wingdings" pitchFamily="2" charset="2"/>
              <a:buChar char="à"/>
            </a:pPr>
            <a:r>
              <a:rPr lang="en-US" sz="4000" b="0" dirty="0">
                <a:latin typeface="IBM Plex Sans" panose="020B0503050203000203" pitchFamily="34" charset="0"/>
                <a:sym typeface="Wingdings" pitchFamily="2" charset="2"/>
              </a:rPr>
              <a:t>CSM transition &amp; onboarding - teaming up in governance and projects meetings, access to systems </a:t>
            </a:r>
          </a:p>
          <a:p>
            <a:pPr>
              <a:buClrTx/>
            </a:pPr>
            <a:r>
              <a:rPr lang="en-US" sz="4000" u="sng" dirty="0">
                <a:latin typeface="IBM Plex Sans" panose="020B0503050203000203" pitchFamily="34" charset="0"/>
              </a:rPr>
              <a:t>Prerequisites:</a:t>
            </a:r>
            <a:r>
              <a:rPr lang="en-US" sz="4000" dirty="0">
                <a:latin typeface="IBM Plex Sans" panose="020B0503050203000203" pitchFamily="34" charset="0"/>
              </a:rPr>
              <a:t> </a:t>
            </a:r>
            <a:r>
              <a:rPr lang="en-US" sz="4000" b="0" dirty="0">
                <a:latin typeface="IBM Plex Sans" panose="020B0503050203000203" pitchFamily="34" charset="0"/>
              </a:rPr>
              <a:t> “Be ready to engage – bring everyone on the same page, sharing common vision”</a:t>
            </a:r>
          </a:p>
          <a:p>
            <a:pPr marL="571500" indent="-571500">
              <a:buClrTx/>
              <a:buFont typeface="Arial" panose="020B0604020202020204" pitchFamily="34" charset="0"/>
              <a:buChar char="•"/>
            </a:pPr>
            <a:r>
              <a:rPr lang="en-US" sz="4000" b="0" dirty="0">
                <a:latin typeface="IBM Plex Sans" panose="020B0503050203000203" pitchFamily="34" charset="0"/>
              </a:rPr>
              <a:t>Gather information about customer’s current situation,  pain points (connecting to account teams, partners, knowing about history, inputs from customer created/escalated cases ,….) </a:t>
            </a:r>
          </a:p>
          <a:p>
            <a:pPr marL="571500" indent="-571500">
              <a:buClrTx/>
              <a:buFont typeface="Arial" panose="020B0604020202020204" pitchFamily="34" charset="0"/>
              <a:buChar char="•"/>
            </a:pPr>
            <a:r>
              <a:rPr lang="en-US" sz="4000" b="0" dirty="0">
                <a:latin typeface="IBM Plex Sans" panose="020B0503050203000203" pitchFamily="34" charset="0"/>
              </a:rPr>
              <a:t>Understand the scope of CSM deployment activities (ref. to entitlements) and opportunities for expansion</a:t>
            </a:r>
          </a:p>
        </p:txBody>
      </p:sp>
      <p:sp>
        <p:nvSpPr>
          <p:cNvPr id="2" name="Title 1">
            <a:extLst>
              <a:ext uri="{FF2B5EF4-FFF2-40B4-BE49-F238E27FC236}">
                <a16:creationId xmlns:a16="http://schemas.microsoft.com/office/drawing/2014/main" id="{DC453B5D-9375-412C-A03F-E43B3584A37E}"/>
              </a:ext>
            </a:extLst>
          </p:cNvPr>
          <p:cNvSpPr>
            <a:spLocks noGrp="1"/>
          </p:cNvSpPr>
          <p:nvPr>
            <p:ph type="title"/>
          </p:nvPr>
        </p:nvSpPr>
        <p:spPr>
          <a:xfrm>
            <a:off x="560832" y="536448"/>
            <a:ext cx="21169616" cy="1207685"/>
          </a:xfrm>
        </p:spPr>
        <p:txBody>
          <a:bodyPr/>
          <a:lstStyle/>
          <a:p>
            <a:r>
              <a:rPr lang="en-US" dirty="0"/>
              <a:t>CSM Engagement </a:t>
            </a:r>
            <a:endParaRPr lang="en-IL" dirty="0"/>
          </a:p>
        </p:txBody>
      </p:sp>
      <p:cxnSp>
        <p:nvCxnSpPr>
          <p:cNvPr id="7" name="Straight Arrow Connector 6">
            <a:extLst>
              <a:ext uri="{FF2B5EF4-FFF2-40B4-BE49-F238E27FC236}">
                <a16:creationId xmlns:a16="http://schemas.microsoft.com/office/drawing/2014/main" id="{8D548B98-4B85-4B45-4ED5-14DB90521271}"/>
              </a:ext>
            </a:extLst>
          </p:cNvPr>
          <p:cNvCxnSpPr>
            <a:cxnSpLocks/>
          </p:cNvCxnSpPr>
          <p:nvPr/>
        </p:nvCxnSpPr>
        <p:spPr bwMode="auto">
          <a:xfrm>
            <a:off x="9258300" y="1140290"/>
            <a:ext cx="14211300" cy="0"/>
          </a:xfrm>
          <a:prstGeom prst="straightConnector1">
            <a:avLst/>
          </a:prstGeom>
          <a:ln w="1270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1B1F495E-0523-9657-13D2-D09C956BBC7A}"/>
              </a:ext>
            </a:extLst>
          </p:cNvPr>
          <p:cNvSpPr txBox="1"/>
          <p:nvPr/>
        </p:nvSpPr>
        <p:spPr>
          <a:xfrm>
            <a:off x="9258300" y="1522834"/>
            <a:ext cx="3619500" cy="954107"/>
          </a:xfrm>
          <a:prstGeom prst="rect">
            <a:avLst/>
          </a:prstGeom>
          <a:noFill/>
        </p:spPr>
        <p:txBody>
          <a:bodyPr wrap="square" rtlCol="0">
            <a:spAutoFit/>
          </a:bodyPr>
          <a:lstStyle/>
          <a:p>
            <a:pPr algn="l"/>
            <a:r>
              <a:rPr lang="en-US" sz="2800" b="1" dirty="0">
                <a:solidFill>
                  <a:schemeClr val="tx1"/>
                </a:solidFill>
                <a:latin typeface="Arial" panose="020B0604020202020204" pitchFamily="34" charset="0"/>
                <a:ea typeface="IBM Plex Sans" charset="0"/>
                <a:cs typeface="Arial" panose="020B0604020202020204" pitchFamily="34" charset="0"/>
              </a:rPr>
              <a:t>CSM </a:t>
            </a:r>
          </a:p>
          <a:p>
            <a:pPr algn="l"/>
            <a:r>
              <a:rPr lang="en-US" sz="2800" b="1" dirty="0">
                <a:solidFill>
                  <a:schemeClr val="tx1"/>
                </a:solidFill>
                <a:latin typeface="Arial" panose="020B0604020202020204" pitchFamily="34" charset="0"/>
                <a:ea typeface="IBM Plex Sans" charset="0"/>
                <a:cs typeface="Arial" panose="020B0604020202020204" pitchFamily="34" charset="0"/>
              </a:rPr>
              <a:t>AWARENESS</a:t>
            </a:r>
          </a:p>
        </p:txBody>
      </p:sp>
      <p:sp>
        <p:nvSpPr>
          <p:cNvPr id="10" name="TextBox 9">
            <a:extLst>
              <a:ext uri="{FF2B5EF4-FFF2-40B4-BE49-F238E27FC236}">
                <a16:creationId xmlns:a16="http://schemas.microsoft.com/office/drawing/2014/main" id="{2E843E69-4D17-6179-2202-006E121FE75E}"/>
              </a:ext>
            </a:extLst>
          </p:cNvPr>
          <p:cNvSpPr txBox="1"/>
          <p:nvPr/>
        </p:nvSpPr>
        <p:spPr>
          <a:xfrm>
            <a:off x="15494374" y="1522834"/>
            <a:ext cx="3619500" cy="954107"/>
          </a:xfrm>
          <a:prstGeom prst="rect">
            <a:avLst/>
          </a:prstGeom>
          <a:noFill/>
        </p:spPr>
        <p:txBody>
          <a:bodyPr wrap="square" rtlCol="0">
            <a:spAutoFit/>
          </a:bodyPr>
          <a:lstStyle/>
          <a:p>
            <a:pPr algn="l"/>
            <a:r>
              <a:rPr lang="en-US" sz="2800" b="1" dirty="0">
                <a:solidFill>
                  <a:schemeClr val="tx1"/>
                </a:solidFill>
                <a:latin typeface="Arial" panose="020B0604020202020204" pitchFamily="34" charset="0"/>
                <a:ea typeface="IBM Plex Sans" charset="0"/>
                <a:cs typeface="Arial" panose="020B0604020202020204" pitchFamily="34" charset="0"/>
              </a:rPr>
              <a:t>CSM</a:t>
            </a:r>
          </a:p>
          <a:p>
            <a:pPr algn="l"/>
            <a:r>
              <a:rPr lang="en-US" sz="2800" b="1" dirty="0">
                <a:solidFill>
                  <a:schemeClr val="tx1"/>
                </a:solidFill>
                <a:latin typeface="Arial" panose="020B0604020202020204" pitchFamily="34" charset="0"/>
                <a:ea typeface="IBM Plex Sans" charset="0"/>
                <a:cs typeface="Arial" panose="020B0604020202020204" pitchFamily="34" charset="0"/>
              </a:rPr>
              <a:t>POSITIONING </a:t>
            </a:r>
          </a:p>
        </p:txBody>
      </p:sp>
      <p:sp>
        <p:nvSpPr>
          <p:cNvPr id="11" name="TextBox 10">
            <a:extLst>
              <a:ext uri="{FF2B5EF4-FFF2-40B4-BE49-F238E27FC236}">
                <a16:creationId xmlns:a16="http://schemas.microsoft.com/office/drawing/2014/main" id="{3E5DD090-DB7C-A982-8DEB-498522C8305A}"/>
              </a:ext>
            </a:extLst>
          </p:cNvPr>
          <p:cNvSpPr txBox="1"/>
          <p:nvPr/>
        </p:nvSpPr>
        <p:spPr>
          <a:xfrm>
            <a:off x="20899533" y="1458351"/>
            <a:ext cx="3619500" cy="954107"/>
          </a:xfrm>
          <a:prstGeom prst="rect">
            <a:avLst/>
          </a:prstGeom>
          <a:noFill/>
        </p:spPr>
        <p:txBody>
          <a:bodyPr wrap="square" rtlCol="0">
            <a:spAutoFit/>
          </a:bodyPr>
          <a:lstStyle/>
          <a:p>
            <a:pPr algn="l"/>
            <a:r>
              <a:rPr lang="en-US" sz="2800" b="1" dirty="0">
                <a:solidFill>
                  <a:schemeClr val="tx1"/>
                </a:solidFill>
                <a:latin typeface="Arial" panose="020B0604020202020204" pitchFamily="34" charset="0"/>
                <a:ea typeface="IBM Plex Sans" charset="0"/>
                <a:cs typeface="Arial" panose="020B0604020202020204" pitchFamily="34" charset="0"/>
              </a:rPr>
              <a:t>CSM</a:t>
            </a:r>
          </a:p>
          <a:p>
            <a:pPr algn="l"/>
            <a:r>
              <a:rPr lang="en-US" sz="2800" b="1" dirty="0">
                <a:solidFill>
                  <a:schemeClr val="tx1"/>
                </a:solidFill>
                <a:latin typeface="Arial" panose="020B0604020202020204" pitchFamily="34" charset="0"/>
                <a:ea typeface="IBM Plex Sans" charset="0"/>
                <a:cs typeface="Arial" panose="020B0604020202020204" pitchFamily="34" charset="0"/>
              </a:rPr>
              <a:t>ENGAGEMENT </a:t>
            </a:r>
          </a:p>
        </p:txBody>
      </p:sp>
      <p:sp>
        <p:nvSpPr>
          <p:cNvPr id="13" name="Oval 12">
            <a:extLst>
              <a:ext uri="{FF2B5EF4-FFF2-40B4-BE49-F238E27FC236}">
                <a16:creationId xmlns:a16="http://schemas.microsoft.com/office/drawing/2014/main" id="{A1F38B30-A108-61B3-7A43-7F325A85C5EF}"/>
              </a:ext>
            </a:extLst>
          </p:cNvPr>
          <p:cNvSpPr/>
          <p:nvPr/>
        </p:nvSpPr>
        <p:spPr bwMode="auto">
          <a:xfrm>
            <a:off x="21794883" y="683090"/>
            <a:ext cx="914400" cy="914400"/>
          </a:xfrm>
          <a:prstGeom prst="ellipse">
            <a:avLst/>
          </a:prstGeom>
          <a:solidFill>
            <a:srgbClr val="92D050"/>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191919"/>
              </a:solidFill>
              <a:effectLst/>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CEBC6EF0-52D3-AB80-62A3-71E83197C240}"/>
              </a:ext>
            </a:extLst>
          </p:cNvPr>
          <p:cNvSpPr txBox="1"/>
          <p:nvPr/>
        </p:nvSpPr>
        <p:spPr>
          <a:xfrm>
            <a:off x="0" y="12723764"/>
            <a:ext cx="24384000" cy="1056988"/>
          </a:xfrm>
          <a:prstGeom prst="rect">
            <a:avLst/>
          </a:prstGeom>
          <a:solidFill>
            <a:srgbClr val="92D050"/>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algn="ctr"/>
            <a:r>
              <a:rPr lang="en-US" sz="3200" b="1" dirty="0">
                <a:solidFill>
                  <a:schemeClr val="bg2">
                    <a:lumMod val="10000"/>
                  </a:schemeClr>
                </a:solidFill>
              </a:rPr>
              <a:t>This template helps to engage as a CSM with your customer </a:t>
            </a:r>
            <a:endParaRPr lang="en-US" sz="3200" dirty="0">
              <a:solidFill>
                <a:schemeClr val="bg2">
                  <a:lumMod val="10000"/>
                </a:schemeClr>
              </a:solidFill>
            </a:endParaRPr>
          </a:p>
        </p:txBody>
      </p:sp>
      <p:sp>
        <p:nvSpPr>
          <p:cNvPr id="15" name="Straight Connector 81">
            <a:extLst>
              <a:ext uri="{FF2B5EF4-FFF2-40B4-BE49-F238E27FC236}">
                <a16:creationId xmlns:a16="http://schemas.microsoft.com/office/drawing/2014/main" id="{4AEAE165-35E2-2836-06B1-B30364BA9036}"/>
              </a:ext>
            </a:extLst>
          </p:cNvPr>
          <p:cNvSpPr/>
          <p:nvPr/>
        </p:nvSpPr>
        <p:spPr>
          <a:xfrm flipV="1">
            <a:off x="6112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16" name="Straight Connector 82">
            <a:extLst>
              <a:ext uri="{FF2B5EF4-FFF2-40B4-BE49-F238E27FC236}">
                <a16:creationId xmlns:a16="http://schemas.microsoft.com/office/drawing/2014/main" id="{DF0956D6-42E0-98CB-F354-6B26EBAF5497}"/>
              </a:ext>
            </a:extLst>
          </p:cNvPr>
          <p:cNvSpPr/>
          <p:nvPr/>
        </p:nvSpPr>
        <p:spPr>
          <a:xfrm flipV="1">
            <a:off x="54880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17" name="Straight Connector 83">
            <a:extLst>
              <a:ext uri="{FF2B5EF4-FFF2-40B4-BE49-F238E27FC236}">
                <a16:creationId xmlns:a16="http://schemas.microsoft.com/office/drawing/2014/main" id="{1889B252-A57D-2E63-8216-BC6A44CB06F0}"/>
              </a:ext>
            </a:extLst>
          </p:cNvPr>
          <p:cNvSpPr/>
          <p:nvPr/>
        </p:nvSpPr>
        <p:spPr>
          <a:xfrm flipV="1">
            <a:off x="60976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18" name="Straight Connector 84">
            <a:extLst>
              <a:ext uri="{FF2B5EF4-FFF2-40B4-BE49-F238E27FC236}">
                <a16:creationId xmlns:a16="http://schemas.microsoft.com/office/drawing/2014/main" id="{E1C53AD8-590C-E24B-C2C7-6C9403A684B5}"/>
              </a:ext>
            </a:extLst>
          </p:cNvPr>
          <p:cNvSpPr/>
          <p:nvPr/>
        </p:nvSpPr>
        <p:spPr>
          <a:xfrm flipV="1">
            <a:off x="67072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19" name="Straight Connector 78">
            <a:extLst>
              <a:ext uri="{FF2B5EF4-FFF2-40B4-BE49-F238E27FC236}">
                <a16:creationId xmlns:a16="http://schemas.microsoft.com/office/drawing/2014/main" id="{7D1971D3-C2AE-DE0E-86FE-5141C518463E}"/>
              </a:ext>
            </a:extLst>
          </p:cNvPr>
          <p:cNvSpPr/>
          <p:nvPr/>
        </p:nvSpPr>
        <p:spPr>
          <a:xfrm flipH="1">
            <a:off x="-419613" y="11984736"/>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20" name="Straight Connector 80">
            <a:extLst>
              <a:ext uri="{FF2B5EF4-FFF2-40B4-BE49-F238E27FC236}">
                <a16:creationId xmlns:a16="http://schemas.microsoft.com/office/drawing/2014/main" id="{138FCE1E-7E1A-F05D-CFEC-A95A971D7460}"/>
              </a:ext>
            </a:extLst>
          </p:cNvPr>
          <p:cNvSpPr/>
          <p:nvPr/>
        </p:nvSpPr>
        <p:spPr>
          <a:xfrm flipH="1">
            <a:off x="-419613" y="13072533"/>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pic>
        <p:nvPicPr>
          <p:cNvPr id="21" name="CSMLogo_Final-04.jpg" descr="CSMLogo_Final-04.jpg">
            <a:extLst>
              <a:ext uri="{FF2B5EF4-FFF2-40B4-BE49-F238E27FC236}">
                <a16:creationId xmlns:a16="http://schemas.microsoft.com/office/drawing/2014/main" id="{5FBC3490-0A2A-EB05-41E9-42A218478905}"/>
              </a:ext>
            </a:extLst>
          </p:cNvPr>
          <p:cNvPicPr>
            <a:picLocks noChangeAspect="1"/>
          </p:cNvPicPr>
          <p:nvPr/>
        </p:nvPicPr>
        <p:blipFill>
          <a:blip r:embed="rId3"/>
          <a:srcRect r="71135"/>
          <a:stretch>
            <a:fillRect/>
          </a:stretch>
        </p:blipFill>
        <p:spPr>
          <a:xfrm>
            <a:off x="532112" y="12986057"/>
            <a:ext cx="669349" cy="685939"/>
          </a:xfrm>
          <a:prstGeom prst="rect">
            <a:avLst/>
          </a:prstGeom>
          <a:ln w="12700">
            <a:miter lim="400000"/>
          </a:ln>
        </p:spPr>
      </p:pic>
      <p:sp>
        <p:nvSpPr>
          <p:cNvPr id="22" name="IBM Customer Success / © 2021 IBM Corporation">
            <a:extLst>
              <a:ext uri="{FF2B5EF4-FFF2-40B4-BE49-F238E27FC236}">
                <a16:creationId xmlns:a16="http://schemas.microsoft.com/office/drawing/2014/main" id="{A6A39042-E38E-C517-E6D1-EB5E24FDBC85}"/>
              </a:ext>
            </a:extLst>
          </p:cNvPr>
          <p:cNvSpPr txBox="1"/>
          <p:nvPr/>
        </p:nvSpPr>
        <p:spPr>
          <a:xfrm>
            <a:off x="1161924" y="13132108"/>
            <a:ext cx="5354543" cy="3795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sz="1800" dirty="0">
                <a:latin typeface="IBM Plex Sans Light"/>
                <a:ea typeface="IBM Plex Sans Light"/>
                <a:cs typeface="IBM Plex Sans Light"/>
                <a:sym typeface="IBM Plex Sans Light"/>
              </a:rPr>
              <a:t>IBM</a:t>
            </a:r>
            <a:r>
              <a:rPr sz="1800" dirty="0"/>
              <a:t> </a:t>
            </a:r>
            <a:r>
              <a:rPr sz="1800" spc="19" dirty="0">
                <a:latin typeface="IBM Plex Sans SemiBold"/>
                <a:ea typeface="IBM Plex Sans SemiBold"/>
                <a:cs typeface="IBM Plex Sans SemiBold"/>
                <a:sym typeface="IBM Plex Sans SemiBold"/>
              </a:rPr>
              <a:t>Customer Success</a:t>
            </a:r>
            <a:r>
              <a:rPr sz="1800" b="1" spc="19" dirty="0"/>
              <a:t> </a:t>
            </a:r>
            <a:r>
              <a:rPr sz="1800" spc="19" dirty="0">
                <a:latin typeface="IBM Plex Sans Light"/>
                <a:ea typeface="IBM Plex Sans Light"/>
                <a:cs typeface="IBM Plex Sans Light"/>
                <a:sym typeface="IBM Plex Sans Light"/>
              </a:rPr>
              <a:t>/ © 202</a:t>
            </a:r>
            <a:r>
              <a:rPr lang="en-AU" sz="1800" spc="19" dirty="0">
                <a:latin typeface="IBM Plex Sans Light"/>
                <a:ea typeface="IBM Plex Sans Light"/>
                <a:cs typeface="IBM Plex Sans Light"/>
                <a:sym typeface="IBM Plex Sans Light"/>
              </a:rPr>
              <a:t>2</a:t>
            </a:r>
            <a:r>
              <a:rPr sz="1800" spc="19" dirty="0">
                <a:latin typeface="IBM Plex Sans Light"/>
                <a:ea typeface="IBM Plex Sans Light"/>
                <a:cs typeface="IBM Plex Sans Light"/>
                <a:sym typeface="IBM Plex Sans Light"/>
              </a:rPr>
              <a:t> IBM Corporation</a:t>
            </a:r>
          </a:p>
        </p:txBody>
      </p:sp>
      <p:pic>
        <p:nvPicPr>
          <p:cNvPr id="23" name="Image" descr="Image">
            <a:extLst>
              <a:ext uri="{FF2B5EF4-FFF2-40B4-BE49-F238E27FC236}">
                <a16:creationId xmlns:a16="http://schemas.microsoft.com/office/drawing/2014/main" id="{49FCD3C9-C61F-2BAE-8134-BDC731D5C491}"/>
              </a:ext>
            </a:extLst>
          </p:cNvPr>
          <p:cNvPicPr>
            <a:picLocks noChangeAspect="1"/>
          </p:cNvPicPr>
          <p:nvPr/>
        </p:nvPicPr>
        <p:blipFill>
          <a:blip r:embed="rId4"/>
          <a:stretch>
            <a:fillRect/>
          </a:stretch>
        </p:blipFill>
        <p:spPr>
          <a:xfrm>
            <a:off x="22375169" y="11914726"/>
            <a:ext cx="2008831" cy="1540017"/>
          </a:xfrm>
          <a:prstGeom prst="rect">
            <a:avLst/>
          </a:prstGeom>
          <a:solidFill>
            <a:schemeClr val="bg2">
              <a:lumMod val="10000"/>
            </a:schemeClr>
          </a:solidFill>
          <a:ln w="12700">
            <a:miter lim="400000"/>
          </a:ln>
        </p:spPr>
      </p:pic>
    </p:spTree>
    <p:extLst>
      <p:ext uri="{BB962C8B-B14F-4D97-AF65-F5344CB8AC3E}">
        <p14:creationId xmlns:p14="http://schemas.microsoft.com/office/powerpoint/2010/main" val="781374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Arc 173">
            <a:extLst>
              <a:ext uri="{FF2B5EF4-FFF2-40B4-BE49-F238E27FC236}">
                <a16:creationId xmlns:a16="http://schemas.microsoft.com/office/drawing/2014/main" id="{E834827B-845F-6346-BEE3-5E8D874AE45C}"/>
              </a:ext>
            </a:extLst>
          </p:cNvPr>
          <p:cNvSpPr/>
          <p:nvPr/>
        </p:nvSpPr>
        <p:spPr>
          <a:xfrm rot="10800000" flipV="1">
            <a:off x="3329251" y="9494082"/>
            <a:ext cx="16543222" cy="7581854"/>
          </a:xfrm>
          <a:prstGeom prst="arc">
            <a:avLst>
              <a:gd name="adj1" fmla="val 15877996"/>
              <a:gd name="adj2" fmla="val 21355219"/>
            </a:avLst>
          </a:prstGeom>
          <a:noFill/>
          <a:ln w="38100">
            <a:solidFill>
              <a:schemeClr val="accent3">
                <a:lumMod val="75000"/>
              </a:schemeClr>
            </a:solidFill>
          </a:ln>
          <a:effectLst>
            <a:outerShdw dist="20000" sx="1000" sy="1000" rotWithShape="0">
              <a:srgbClr val="000000"/>
            </a:outerShdw>
          </a:effectLst>
        </p:spPr>
        <p:style>
          <a:lnRef idx="2">
            <a:schemeClr val="accent1"/>
          </a:lnRef>
          <a:fillRef idx="0">
            <a:schemeClr val="accent1"/>
          </a:fillRef>
          <a:effectRef idx="1">
            <a:schemeClr val="accent1"/>
          </a:effectRef>
          <a:fontRef idx="minor">
            <a:schemeClr val="tx1"/>
          </a:fontRef>
        </p:style>
        <p:txBody>
          <a:bodyPr rtlCol="0" anchor="ctr"/>
          <a:lstStyle/>
          <a:p>
            <a:pPr defTabSz="1828754" hangingPunct="1">
              <a:defRPr/>
            </a:pPr>
            <a:endParaRPr lang="en-US" sz="4800" kern="1200">
              <a:solidFill>
                <a:srgbClr val="0B2545"/>
              </a:solidFill>
              <a:latin typeface="Calibri"/>
            </a:endParaRPr>
          </a:p>
        </p:txBody>
      </p:sp>
      <p:sp>
        <p:nvSpPr>
          <p:cNvPr id="100" name="Title 1">
            <a:extLst>
              <a:ext uri="{FF2B5EF4-FFF2-40B4-BE49-F238E27FC236}">
                <a16:creationId xmlns:a16="http://schemas.microsoft.com/office/drawing/2014/main" id="{DB5D8500-86FE-294A-B6E8-F5B8C27C200A}"/>
              </a:ext>
            </a:extLst>
          </p:cNvPr>
          <p:cNvSpPr txBox="1">
            <a:spLocks/>
          </p:cNvSpPr>
          <p:nvPr/>
        </p:nvSpPr>
        <p:spPr>
          <a:xfrm>
            <a:off x="660046" y="381751"/>
            <a:ext cx="19025315" cy="1602950"/>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394" b="0">
                <a:solidFill>
                  <a:schemeClr val="bg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43"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891"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32"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777" algn="l" rtl="0" eaLnBrk="1" fontAlgn="base" hangingPunct="1">
              <a:lnSpc>
                <a:spcPct val="90000"/>
              </a:lnSpc>
              <a:spcBef>
                <a:spcPct val="0"/>
              </a:spcBef>
              <a:spcAft>
                <a:spcPct val="0"/>
              </a:spcAft>
              <a:defRPr sz="5915">
                <a:solidFill>
                  <a:srgbClr val="191919"/>
                </a:solidFill>
                <a:latin typeface="HelvNeue Light for IBM" pitchFamily="34" charset="0"/>
              </a:defRPr>
            </a:lvl9pPr>
          </a:lstStyle>
          <a:p>
            <a:pPr defTabSz="914400"/>
            <a:r>
              <a:rPr lang="en-US" sz="6400" kern="1200" dirty="0">
                <a:solidFill>
                  <a:srgbClr val="000000"/>
                </a:solidFill>
                <a:latin typeface="IBM Plex Sans Light"/>
              </a:rPr>
              <a:t>Use Case Lifecycle </a:t>
            </a:r>
          </a:p>
          <a:p>
            <a:pPr defTabSz="914400"/>
            <a:r>
              <a:rPr lang="en-US" sz="3600" kern="1200" dirty="0">
                <a:solidFill>
                  <a:srgbClr val="000000"/>
                </a:solidFill>
                <a:latin typeface="IBM Plex Sans Light"/>
              </a:rPr>
              <a:t>Accelerating Hybrid Cloud &amp; AI </a:t>
            </a:r>
          </a:p>
          <a:p>
            <a:pPr defTabSz="914400"/>
            <a:r>
              <a:rPr lang="en-US" kern="1200" dirty="0">
                <a:solidFill>
                  <a:srgbClr val="000000"/>
                </a:solidFill>
                <a:latin typeface="IBM Plex Sans Light"/>
              </a:rPr>
              <a:t> </a:t>
            </a:r>
            <a:endParaRPr lang="en-US" sz="4400" kern="1200" dirty="0">
              <a:solidFill>
                <a:srgbClr val="000000"/>
              </a:solidFill>
              <a:latin typeface="IBM Plex Sans Light"/>
            </a:endParaRPr>
          </a:p>
        </p:txBody>
      </p:sp>
      <p:grpSp>
        <p:nvGrpSpPr>
          <p:cNvPr id="7" name="Group 6">
            <a:extLst>
              <a:ext uri="{FF2B5EF4-FFF2-40B4-BE49-F238E27FC236}">
                <a16:creationId xmlns:a16="http://schemas.microsoft.com/office/drawing/2014/main" id="{FB6E0D43-1A8C-2142-9422-E9039B71E9FF}"/>
              </a:ext>
            </a:extLst>
          </p:cNvPr>
          <p:cNvGrpSpPr/>
          <p:nvPr/>
        </p:nvGrpSpPr>
        <p:grpSpPr>
          <a:xfrm>
            <a:off x="-919157" y="1740470"/>
            <a:ext cx="25040036" cy="11817410"/>
            <a:chOff x="-672031" y="770532"/>
            <a:chExt cx="12520018" cy="5908705"/>
          </a:xfrm>
        </p:grpSpPr>
        <p:sp>
          <p:nvSpPr>
            <p:cNvPr id="178" name="Arc 177">
              <a:extLst>
                <a:ext uri="{FF2B5EF4-FFF2-40B4-BE49-F238E27FC236}">
                  <a16:creationId xmlns:a16="http://schemas.microsoft.com/office/drawing/2014/main" id="{882031C4-8979-594D-AE7E-7A5F17948C10}"/>
                </a:ext>
              </a:extLst>
            </p:cNvPr>
            <p:cNvSpPr/>
            <p:nvPr/>
          </p:nvSpPr>
          <p:spPr>
            <a:xfrm flipV="1">
              <a:off x="-672031" y="770532"/>
              <a:ext cx="12366171" cy="3882509"/>
            </a:xfrm>
            <a:prstGeom prst="arc">
              <a:avLst>
                <a:gd name="adj1" fmla="val 15643302"/>
                <a:gd name="adj2" fmla="val 21465446"/>
              </a:avLst>
            </a:prstGeom>
            <a:noFill/>
            <a:ln w="38100">
              <a:solidFill>
                <a:schemeClr val="accent3">
                  <a:lumMod val="75000"/>
                </a:schemeClr>
              </a:solidFill>
            </a:ln>
            <a:effectLst>
              <a:outerShdw dist="20000" sx="1000" sy="1000" rotWithShape="0">
                <a:srgbClr val="000000"/>
              </a:outerShdw>
            </a:effectLst>
          </p:spPr>
          <p:style>
            <a:lnRef idx="2">
              <a:schemeClr val="accent1"/>
            </a:lnRef>
            <a:fillRef idx="0">
              <a:schemeClr val="accent1"/>
            </a:fillRef>
            <a:effectRef idx="1">
              <a:schemeClr val="accent1"/>
            </a:effectRef>
            <a:fontRef idx="minor">
              <a:schemeClr val="tx1"/>
            </a:fontRef>
          </p:style>
          <p:txBody>
            <a:bodyPr rtlCol="0" anchor="ctr"/>
            <a:lstStyle/>
            <a:p>
              <a:pPr defTabSz="1828754" hangingPunct="1">
                <a:defRPr/>
              </a:pPr>
              <a:endParaRPr lang="en-US" sz="4800" kern="1200" dirty="0">
                <a:solidFill>
                  <a:srgbClr val="0B2545"/>
                </a:solidFill>
                <a:latin typeface="Calibri"/>
              </a:endParaRPr>
            </a:p>
          </p:txBody>
        </p:sp>
        <p:grpSp>
          <p:nvGrpSpPr>
            <p:cNvPr id="6" name="Group 5">
              <a:extLst>
                <a:ext uri="{FF2B5EF4-FFF2-40B4-BE49-F238E27FC236}">
                  <a16:creationId xmlns:a16="http://schemas.microsoft.com/office/drawing/2014/main" id="{1F0537E6-6CF1-BA40-8047-153C9C58B9FA}"/>
                </a:ext>
              </a:extLst>
            </p:cNvPr>
            <p:cNvGrpSpPr/>
            <p:nvPr/>
          </p:nvGrpSpPr>
          <p:grpSpPr>
            <a:xfrm>
              <a:off x="34776" y="1354382"/>
              <a:ext cx="11813211" cy="5324855"/>
              <a:chOff x="34776" y="1354382"/>
              <a:chExt cx="11813211" cy="5324855"/>
            </a:xfrm>
          </p:grpSpPr>
          <p:sp>
            <p:nvSpPr>
              <p:cNvPr id="173" name="Rectangle 172">
                <a:extLst>
                  <a:ext uri="{FF2B5EF4-FFF2-40B4-BE49-F238E27FC236}">
                    <a16:creationId xmlns:a16="http://schemas.microsoft.com/office/drawing/2014/main" id="{F50AD5E1-4855-1C45-9843-CA041D3E2326}"/>
                  </a:ext>
                </a:extLst>
              </p:cNvPr>
              <p:cNvSpPr/>
              <p:nvPr/>
            </p:nvSpPr>
            <p:spPr>
              <a:xfrm>
                <a:off x="182427" y="1354382"/>
                <a:ext cx="11471467" cy="122949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754" hangingPunct="1">
                  <a:defRPr/>
                </a:pPr>
                <a:endParaRPr lang="en-US" sz="2702" kern="1200" dirty="0">
                  <a:solidFill>
                    <a:prstClr val="white"/>
                  </a:solidFill>
                  <a:latin typeface="Calibri"/>
                </a:endParaRPr>
              </a:p>
            </p:txBody>
          </p:sp>
          <p:cxnSp>
            <p:nvCxnSpPr>
              <p:cNvPr id="175" name="Straight Connector 174">
                <a:extLst>
                  <a:ext uri="{FF2B5EF4-FFF2-40B4-BE49-F238E27FC236}">
                    <a16:creationId xmlns:a16="http://schemas.microsoft.com/office/drawing/2014/main" id="{9FCFBF0D-F0EA-8944-BC7F-AC4F1B00C57C}"/>
                  </a:ext>
                </a:extLst>
              </p:cNvPr>
              <p:cNvCxnSpPr>
                <a:cxnSpLocks/>
              </p:cNvCxnSpPr>
              <p:nvPr/>
            </p:nvCxnSpPr>
            <p:spPr>
              <a:xfrm>
                <a:off x="1477743" y="3017523"/>
                <a:ext cx="0" cy="3248504"/>
              </a:xfrm>
              <a:prstGeom prst="line">
                <a:avLst/>
              </a:prstGeom>
              <a:ln w="12700">
                <a:solidFill>
                  <a:schemeClr val="accent3">
                    <a:lumMod val="75000"/>
                  </a:schemeClr>
                </a:solidFill>
              </a:ln>
            </p:spPr>
            <p:style>
              <a:lnRef idx="1">
                <a:schemeClr val="accent6"/>
              </a:lnRef>
              <a:fillRef idx="0">
                <a:schemeClr val="accent6"/>
              </a:fillRef>
              <a:effectRef idx="0">
                <a:schemeClr val="accent6"/>
              </a:effectRef>
              <a:fontRef idx="minor">
                <a:schemeClr val="tx1"/>
              </a:fontRef>
            </p:style>
          </p:cxnSp>
          <p:cxnSp>
            <p:nvCxnSpPr>
              <p:cNvPr id="176" name="Straight Connector 175">
                <a:extLst>
                  <a:ext uri="{FF2B5EF4-FFF2-40B4-BE49-F238E27FC236}">
                    <a16:creationId xmlns:a16="http://schemas.microsoft.com/office/drawing/2014/main" id="{876A8B9F-E90C-B949-A035-24F3A3593BB2}"/>
                  </a:ext>
                </a:extLst>
              </p:cNvPr>
              <p:cNvCxnSpPr>
                <a:cxnSpLocks/>
              </p:cNvCxnSpPr>
              <p:nvPr/>
            </p:nvCxnSpPr>
            <p:spPr>
              <a:xfrm flipH="1">
                <a:off x="1474956" y="6263957"/>
                <a:ext cx="10178939" cy="0"/>
              </a:xfrm>
              <a:prstGeom prst="line">
                <a:avLst/>
              </a:prstGeom>
              <a:ln w="12700">
                <a:solidFill>
                  <a:schemeClr val="accent3">
                    <a:lumMod val="75000"/>
                  </a:schemeClr>
                </a:solidFill>
              </a:ln>
            </p:spPr>
            <p:style>
              <a:lnRef idx="1">
                <a:schemeClr val="accent6"/>
              </a:lnRef>
              <a:fillRef idx="0">
                <a:schemeClr val="accent6"/>
              </a:fillRef>
              <a:effectRef idx="0">
                <a:schemeClr val="accent6"/>
              </a:effectRef>
              <a:fontRef idx="minor">
                <a:schemeClr val="tx1"/>
              </a:fontRef>
            </p:style>
          </p:cxnSp>
          <p:sp>
            <p:nvSpPr>
              <p:cNvPr id="177" name="TextBox 176">
                <a:extLst>
                  <a:ext uri="{FF2B5EF4-FFF2-40B4-BE49-F238E27FC236}">
                    <a16:creationId xmlns:a16="http://schemas.microsoft.com/office/drawing/2014/main" id="{EAB930A6-9693-AF4B-92FC-9066A1008881}"/>
                  </a:ext>
                </a:extLst>
              </p:cNvPr>
              <p:cNvSpPr txBox="1"/>
              <p:nvPr/>
            </p:nvSpPr>
            <p:spPr>
              <a:xfrm>
                <a:off x="1567687" y="1452391"/>
                <a:ext cx="2040845" cy="1000274"/>
              </a:xfrm>
              <a:prstGeom prst="rect">
                <a:avLst/>
              </a:prstGeom>
              <a:noFill/>
            </p:spPr>
            <p:txBody>
              <a:bodyPr wrap="square" rtlCol="0">
                <a:spAutoFit/>
              </a:bodyPr>
              <a:lstStyle/>
              <a:p>
                <a:pPr algn="l" defTabSz="1828754" hangingPunct="1">
                  <a:defRPr/>
                </a:pPr>
                <a:r>
                  <a:rPr lang="en-US" sz="4000" b="1" kern="1200" dirty="0">
                    <a:solidFill>
                      <a:prstClr val="white"/>
                    </a:solidFill>
                    <a:latin typeface="IBM Plex Sans" panose="020B0503050203000203" pitchFamily="34" charset="0"/>
                  </a:rPr>
                  <a:t>Plan</a:t>
                </a:r>
              </a:p>
              <a:p>
                <a:pPr algn="l" defTabSz="1828754" hangingPunct="1">
                  <a:defRPr/>
                </a:pPr>
                <a:r>
                  <a:rPr lang="en-US" sz="2800" kern="1200" dirty="0">
                    <a:solidFill>
                      <a:prstClr val="white"/>
                    </a:solidFill>
                    <a:latin typeface="IBM Plex Sans Light" panose="020B0403050203000203" pitchFamily="34" charset="0"/>
                  </a:rPr>
                  <a:t>Determine the vision and prepare for the future</a:t>
                </a:r>
              </a:p>
            </p:txBody>
          </p:sp>
          <p:cxnSp>
            <p:nvCxnSpPr>
              <p:cNvPr id="179" name="Straight Connector 178">
                <a:extLst>
                  <a:ext uri="{FF2B5EF4-FFF2-40B4-BE49-F238E27FC236}">
                    <a16:creationId xmlns:a16="http://schemas.microsoft.com/office/drawing/2014/main" id="{7EDA8347-46C7-754A-96C3-138157E1CDFC}"/>
                  </a:ext>
                </a:extLst>
              </p:cNvPr>
              <p:cNvCxnSpPr>
                <a:cxnSpLocks/>
              </p:cNvCxnSpPr>
              <p:nvPr/>
            </p:nvCxnSpPr>
            <p:spPr>
              <a:xfrm>
                <a:off x="9404295" y="1572090"/>
                <a:ext cx="0" cy="4691867"/>
              </a:xfrm>
              <a:prstGeom prst="line">
                <a:avLst/>
              </a:prstGeom>
              <a:ln w="12700">
                <a:solidFill>
                  <a:schemeClr val="tx1">
                    <a:lumMod val="25000"/>
                    <a:lumOff val="75000"/>
                  </a:schemeClr>
                </a:solidFill>
                <a:prstDash val="dash"/>
              </a:ln>
              <a:effectLst>
                <a:outerShdw dist="20000" sx="1000" sy="1000" rotWithShape="0">
                  <a:srgbClr val="000000"/>
                </a:outerShdw>
              </a:effectLst>
            </p:spPr>
            <p:style>
              <a:lnRef idx="2">
                <a:schemeClr val="accent1"/>
              </a:lnRef>
              <a:fillRef idx="0">
                <a:schemeClr val="accent1"/>
              </a:fillRef>
              <a:effectRef idx="1">
                <a:schemeClr val="accent1"/>
              </a:effectRef>
              <a:fontRef idx="minor">
                <a:schemeClr val="tx1"/>
              </a:fontRef>
            </p:style>
          </p:cxnSp>
          <p:cxnSp>
            <p:nvCxnSpPr>
              <p:cNvPr id="180" name="Straight Connector 179">
                <a:extLst>
                  <a:ext uri="{FF2B5EF4-FFF2-40B4-BE49-F238E27FC236}">
                    <a16:creationId xmlns:a16="http://schemas.microsoft.com/office/drawing/2014/main" id="{D2C84AE1-679F-BC4B-9965-7E6F22F7BE72}"/>
                  </a:ext>
                </a:extLst>
              </p:cNvPr>
              <p:cNvCxnSpPr>
                <a:cxnSpLocks/>
              </p:cNvCxnSpPr>
              <p:nvPr/>
            </p:nvCxnSpPr>
            <p:spPr>
              <a:xfrm>
                <a:off x="6314784" y="1572090"/>
                <a:ext cx="0" cy="4691867"/>
              </a:xfrm>
              <a:prstGeom prst="line">
                <a:avLst/>
              </a:prstGeom>
              <a:ln w="12700">
                <a:solidFill>
                  <a:schemeClr val="tx1">
                    <a:lumMod val="25000"/>
                    <a:lumOff val="75000"/>
                  </a:schemeClr>
                </a:solidFill>
                <a:prstDash val="dash"/>
              </a:ln>
              <a:effectLst>
                <a:outerShdw dist="20000" sx="1000" sy="1000" rotWithShape="0">
                  <a:srgbClr val="000000"/>
                </a:outerShdw>
              </a:effectLst>
            </p:spPr>
            <p:style>
              <a:lnRef idx="2">
                <a:schemeClr val="accent1"/>
              </a:lnRef>
              <a:fillRef idx="0">
                <a:schemeClr val="accent1"/>
              </a:fillRef>
              <a:effectRef idx="1">
                <a:schemeClr val="accent1"/>
              </a:effectRef>
              <a:fontRef idx="minor">
                <a:schemeClr val="tx1"/>
              </a:fontRef>
            </p:style>
          </p:cxnSp>
          <p:sp>
            <p:nvSpPr>
              <p:cNvPr id="185" name="Rectangle 15">
                <a:extLst>
                  <a:ext uri="{FF2B5EF4-FFF2-40B4-BE49-F238E27FC236}">
                    <a16:creationId xmlns:a16="http://schemas.microsoft.com/office/drawing/2014/main" id="{109F7514-1087-7840-A03C-C13C00103E9C}"/>
                  </a:ext>
                </a:extLst>
              </p:cNvPr>
              <p:cNvSpPr>
                <a:spLocks noChangeArrowheads="1"/>
              </p:cNvSpPr>
              <p:nvPr/>
            </p:nvSpPr>
            <p:spPr bwMode="auto">
              <a:xfrm>
                <a:off x="7977409" y="4552209"/>
                <a:ext cx="1459609" cy="353943"/>
              </a:xfrm>
              <a:prstGeom prst="rect">
                <a:avLst/>
              </a:prstGeom>
              <a:noFill/>
              <a:ln>
                <a:noFill/>
              </a:ln>
            </p:spPr>
            <p:txBody>
              <a:bodyPr wrap="square">
                <a:spAutoFit/>
              </a:bodyPr>
              <a:lstStyle>
                <a:lvl1pPr marL="119063" indent="-119063"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marL="0" indent="0" algn="l" defTabSz="1828754" eaLnBrk="1" hangingPunct="1">
                  <a:defRPr/>
                </a:pPr>
                <a:r>
                  <a:rPr lang="en-US" altLang="en-US" b="1" kern="1200" dirty="0">
                    <a:solidFill>
                      <a:srgbClr val="0B2545"/>
                    </a:solidFill>
                    <a:latin typeface="IBM Plex Sans" panose="020B0503050203000203" pitchFamily="34" charset="0"/>
                  </a:rPr>
                  <a:t>Integrate &amp;</a:t>
                </a:r>
              </a:p>
              <a:p>
                <a:pPr marL="0" indent="0" algn="l" defTabSz="1828754" eaLnBrk="1" hangingPunct="1">
                  <a:defRPr/>
                </a:pPr>
                <a:r>
                  <a:rPr lang="en-US" altLang="en-US" b="1" kern="1200" dirty="0">
                    <a:solidFill>
                      <a:srgbClr val="0B2545"/>
                    </a:solidFill>
                    <a:latin typeface="IBM Plex Sans" panose="020B0503050203000203" pitchFamily="34" charset="0"/>
                  </a:rPr>
                  <a:t>Operationalize</a:t>
                </a:r>
              </a:p>
            </p:txBody>
          </p:sp>
          <p:sp>
            <p:nvSpPr>
              <p:cNvPr id="187" name="Oval 186">
                <a:extLst>
                  <a:ext uri="{FF2B5EF4-FFF2-40B4-BE49-F238E27FC236}">
                    <a16:creationId xmlns:a16="http://schemas.microsoft.com/office/drawing/2014/main" id="{5BF9BB08-244D-2948-B518-5C05700EC4A2}"/>
                  </a:ext>
                </a:extLst>
              </p:cNvPr>
              <p:cNvSpPr/>
              <p:nvPr/>
            </p:nvSpPr>
            <p:spPr>
              <a:xfrm>
                <a:off x="6693384" y="4553967"/>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189" name="Oval 188">
                <a:extLst>
                  <a:ext uri="{FF2B5EF4-FFF2-40B4-BE49-F238E27FC236}">
                    <a16:creationId xmlns:a16="http://schemas.microsoft.com/office/drawing/2014/main" id="{1A8F7CD9-80BE-3F4F-9E7F-A2059B4293FB}"/>
                  </a:ext>
                </a:extLst>
              </p:cNvPr>
              <p:cNvSpPr/>
              <p:nvPr/>
            </p:nvSpPr>
            <p:spPr>
              <a:xfrm>
                <a:off x="8052308" y="4412849"/>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190" name="Rectangle 15">
                <a:extLst>
                  <a:ext uri="{FF2B5EF4-FFF2-40B4-BE49-F238E27FC236}">
                    <a16:creationId xmlns:a16="http://schemas.microsoft.com/office/drawing/2014/main" id="{7FC7316A-2F83-1D4D-80F5-D0D90B62CC5B}"/>
                  </a:ext>
                </a:extLst>
              </p:cNvPr>
              <p:cNvSpPr>
                <a:spLocks noChangeArrowheads="1"/>
              </p:cNvSpPr>
              <p:nvPr/>
            </p:nvSpPr>
            <p:spPr bwMode="auto">
              <a:xfrm>
                <a:off x="9630228" y="4212906"/>
                <a:ext cx="1060465"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19063" indent="-119063"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marL="0" indent="0" algn="l" defTabSz="1828754" eaLnBrk="1" hangingPunct="1">
                  <a:defRPr/>
                </a:pPr>
                <a:r>
                  <a:rPr lang="en-US" altLang="en-US" b="1" kern="1200" dirty="0">
                    <a:solidFill>
                      <a:srgbClr val="0B2545"/>
                    </a:solidFill>
                    <a:latin typeface="IBM Plex Sans" panose="020B0503050203000203" pitchFamily="34" charset="0"/>
                  </a:rPr>
                  <a:t>Consult</a:t>
                </a:r>
              </a:p>
              <a:p>
                <a:pPr marL="0" indent="0" algn="l" defTabSz="1828754" eaLnBrk="1" hangingPunct="1">
                  <a:defRPr/>
                </a:pPr>
                <a:r>
                  <a:rPr lang="en-US" altLang="en-US" b="1" kern="1200" dirty="0">
                    <a:solidFill>
                      <a:srgbClr val="0B2545"/>
                    </a:solidFill>
                    <a:latin typeface="IBM Plex Sans" panose="020B0503050203000203" pitchFamily="34" charset="0"/>
                  </a:rPr>
                  <a:t>Experts</a:t>
                </a:r>
              </a:p>
            </p:txBody>
          </p:sp>
          <p:sp>
            <p:nvSpPr>
              <p:cNvPr id="191" name="Oval 190">
                <a:extLst>
                  <a:ext uri="{FF2B5EF4-FFF2-40B4-BE49-F238E27FC236}">
                    <a16:creationId xmlns:a16="http://schemas.microsoft.com/office/drawing/2014/main" id="{2C3D55D6-716F-A343-A7E9-F43CB738F524}"/>
                  </a:ext>
                </a:extLst>
              </p:cNvPr>
              <p:cNvSpPr/>
              <p:nvPr/>
            </p:nvSpPr>
            <p:spPr>
              <a:xfrm>
                <a:off x="9717711" y="4061185"/>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192" name="TextBox 191">
                <a:extLst>
                  <a:ext uri="{FF2B5EF4-FFF2-40B4-BE49-F238E27FC236}">
                    <a16:creationId xmlns:a16="http://schemas.microsoft.com/office/drawing/2014/main" id="{8FD4388B-24AF-3E46-BD2F-50D435E273CD}"/>
                  </a:ext>
                </a:extLst>
              </p:cNvPr>
              <p:cNvSpPr txBox="1"/>
              <p:nvPr/>
            </p:nvSpPr>
            <p:spPr>
              <a:xfrm>
                <a:off x="1445290" y="3017524"/>
                <a:ext cx="733534" cy="415499"/>
              </a:xfrm>
              <a:prstGeom prst="rect">
                <a:avLst/>
              </a:prstGeom>
              <a:noFill/>
            </p:spPr>
            <p:txBody>
              <a:bodyPr wrap="none" rtlCol="0">
                <a:spAutoFit/>
              </a:bodyPr>
              <a:lstStyle/>
              <a:p>
                <a:pPr algn="l" defTabSz="1828754" hangingPunct="1">
                  <a:defRPr/>
                </a:pPr>
                <a:r>
                  <a:rPr lang="en-US" i="1" kern="1200" dirty="0">
                    <a:solidFill>
                      <a:srgbClr val="0B2545"/>
                    </a:solidFill>
                    <a:latin typeface="IBM Plex Sans" panose="020B0503050203000203" pitchFamily="34" charset="0"/>
                  </a:rPr>
                  <a:t>Business </a:t>
                </a:r>
              </a:p>
              <a:p>
                <a:pPr algn="l" defTabSz="1828754" hangingPunct="1">
                  <a:defRPr/>
                </a:pPr>
                <a:r>
                  <a:rPr lang="en-US" i="1" kern="1200" dirty="0">
                    <a:solidFill>
                      <a:srgbClr val="0B2545"/>
                    </a:solidFill>
                    <a:latin typeface="IBM Plex Sans" panose="020B0503050203000203" pitchFamily="34" charset="0"/>
                  </a:rPr>
                  <a:t>value</a:t>
                </a:r>
              </a:p>
            </p:txBody>
          </p:sp>
          <p:sp>
            <p:nvSpPr>
              <p:cNvPr id="193" name="Oval 192">
                <a:extLst>
                  <a:ext uri="{FF2B5EF4-FFF2-40B4-BE49-F238E27FC236}">
                    <a16:creationId xmlns:a16="http://schemas.microsoft.com/office/drawing/2014/main" id="{C3AC754B-D674-0A4F-A008-991AC6FA4AE2}"/>
                  </a:ext>
                </a:extLst>
              </p:cNvPr>
              <p:cNvSpPr/>
              <p:nvPr/>
            </p:nvSpPr>
            <p:spPr>
              <a:xfrm>
                <a:off x="5074808" y="1572090"/>
                <a:ext cx="2577909" cy="2563760"/>
              </a:xfrm>
              <a:prstGeom prst="ellipse">
                <a:avLst/>
              </a:prstGeom>
            </p:spPr>
            <p:txBody>
              <a:bodyPr wrap="square" lIns="0" tIns="0" rIns="0" bIns="0" rtlCol="0" anchor="ctr">
                <a:noAutofit/>
              </a:bodyPr>
              <a:lstStyle/>
              <a:p>
                <a:pPr defTabSz="1828754" hangingPunct="1">
                  <a:defRPr/>
                </a:pPr>
                <a:endParaRPr lang="en-US" sz="3200" kern="1200" dirty="0" err="1">
                  <a:solidFill>
                    <a:srgbClr val="FFFFFF"/>
                  </a:solidFill>
                  <a:latin typeface="Arial"/>
                  <a:cs typeface="Arial"/>
                </a:endParaRPr>
              </a:p>
            </p:txBody>
          </p:sp>
          <p:cxnSp>
            <p:nvCxnSpPr>
              <p:cNvPr id="194" name="Straight Connector 193">
                <a:extLst>
                  <a:ext uri="{FF2B5EF4-FFF2-40B4-BE49-F238E27FC236}">
                    <a16:creationId xmlns:a16="http://schemas.microsoft.com/office/drawing/2014/main" id="{32C4F0CA-D709-B847-A70C-7C7AA7D9087A}"/>
                  </a:ext>
                </a:extLst>
              </p:cNvPr>
              <p:cNvCxnSpPr>
                <a:cxnSpLocks/>
              </p:cNvCxnSpPr>
              <p:nvPr/>
            </p:nvCxnSpPr>
            <p:spPr>
              <a:xfrm>
                <a:off x="3813081" y="1572090"/>
                <a:ext cx="0" cy="4691867"/>
              </a:xfrm>
              <a:prstGeom prst="line">
                <a:avLst/>
              </a:prstGeom>
              <a:ln w="12700">
                <a:solidFill>
                  <a:schemeClr val="tx1">
                    <a:lumMod val="25000"/>
                    <a:lumOff val="75000"/>
                  </a:schemeClr>
                </a:solidFill>
                <a:prstDash val="dash"/>
              </a:ln>
              <a:effectLst>
                <a:outerShdw dist="20000" sx="1000" sy="1000" rotWithShape="0">
                  <a:srgbClr val="000000"/>
                </a:outerShdw>
              </a:effectLst>
            </p:spPr>
            <p:style>
              <a:lnRef idx="2">
                <a:schemeClr val="accent1"/>
              </a:lnRef>
              <a:fillRef idx="0">
                <a:schemeClr val="accent1"/>
              </a:fillRef>
              <a:effectRef idx="1">
                <a:schemeClr val="accent1"/>
              </a:effectRef>
              <a:fontRef idx="minor">
                <a:schemeClr val="tx1"/>
              </a:fontRef>
            </p:style>
          </p:cxnSp>
          <p:sp>
            <p:nvSpPr>
              <p:cNvPr id="195" name="Oval 194">
                <a:extLst>
                  <a:ext uri="{FF2B5EF4-FFF2-40B4-BE49-F238E27FC236}">
                    <a16:creationId xmlns:a16="http://schemas.microsoft.com/office/drawing/2014/main" id="{396F5166-6FFA-4C42-BE02-1D9EC20C9713}"/>
                  </a:ext>
                </a:extLst>
              </p:cNvPr>
              <p:cNvSpPr/>
              <p:nvPr/>
            </p:nvSpPr>
            <p:spPr>
              <a:xfrm>
                <a:off x="10750019" y="3653283"/>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199" name="TextBox 198">
                <a:extLst>
                  <a:ext uri="{FF2B5EF4-FFF2-40B4-BE49-F238E27FC236}">
                    <a16:creationId xmlns:a16="http://schemas.microsoft.com/office/drawing/2014/main" id="{7975C874-4A65-C348-B5C9-04BF0F46CE3A}"/>
                  </a:ext>
                </a:extLst>
              </p:cNvPr>
              <p:cNvSpPr txBox="1"/>
              <p:nvPr/>
            </p:nvSpPr>
            <p:spPr>
              <a:xfrm>
                <a:off x="3967809" y="1452391"/>
                <a:ext cx="2214139" cy="1000274"/>
              </a:xfrm>
              <a:prstGeom prst="rect">
                <a:avLst/>
              </a:prstGeom>
              <a:noFill/>
            </p:spPr>
            <p:txBody>
              <a:bodyPr wrap="square" rtlCol="0">
                <a:spAutoFit/>
              </a:bodyPr>
              <a:lstStyle/>
              <a:p>
                <a:pPr algn="l" defTabSz="1828754" hangingPunct="1">
                  <a:defRPr/>
                </a:pPr>
                <a:r>
                  <a:rPr lang="en-US" sz="4000" b="1" kern="1200" dirty="0">
                    <a:solidFill>
                      <a:prstClr val="white"/>
                    </a:solidFill>
                    <a:latin typeface="IBM Plex Sans" panose="020B0503050203000203" pitchFamily="34" charset="0"/>
                  </a:rPr>
                  <a:t>Prove</a:t>
                </a:r>
              </a:p>
              <a:p>
                <a:pPr algn="l" defTabSz="1828754" hangingPunct="1">
                  <a:defRPr/>
                </a:pPr>
                <a:r>
                  <a:rPr lang="en-US" sz="2800" kern="1200" dirty="0">
                    <a:solidFill>
                      <a:prstClr val="white"/>
                    </a:solidFill>
                    <a:latin typeface="IBM Plex Sans Light" panose="020B0403050203000203" pitchFamily="34" charset="0"/>
                  </a:rPr>
                  <a:t>Prepare, test, and iterate for developing solution  success</a:t>
                </a:r>
              </a:p>
            </p:txBody>
          </p:sp>
          <p:sp>
            <p:nvSpPr>
              <p:cNvPr id="200" name="TextBox 199">
                <a:extLst>
                  <a:ext uri="{FF2B5EF4-FFF2-40B4-BE49-F238E27FC236}">
                    <a16:creationId xmlns:a16="http://schemas.microsoft.com/office/drawing/2014/main" id="{103CC6C9-B34E-824C-8692-9571D67A8C6D}"/>
                  </a:ext>
                </a:extLst>
              </p:cNvPr>
              <p:cNvSpPr txBox="1"/>
              <p:nvPr/>
            </p:nvSpPr>
            <p:spPr>
              <a:xfrm>
                <a:off x="6561415" y="1452391"/>
                <a:ext cx="2089373" cy="1000274"/>
              </a:xfrm>
              <a:prstGeom prst="rect">
                <a:avLst/>
              </a:prstGeom>
              <a:noFill/>
            </p:spPr>
            <p:txBody>
              <a:bodyPr wrap="square" rtlCol="0">
                <a:spAutoFit/>
              </a:bodyPr>
              <a:lstStyle/>
              <a:p>
                <a:pPr algn="l" defTabSz="1828754" hangingPunct="1">
                  <a:defRPr/>
                </a:pPr>
                <a:r>
                  <a:rPr lang="en-US" sz="4000" b="1" kern="1200" dirty="0">
                    <a:solidFill>
                      <a:prstClr val="white"/>
                    </a:solidFill>
                    <a:latin typeface="IBM Plex Sans" panose="020B0503050203000203" pitchFamily="34" charset="0"/>
                  </a:rPr>
                  <a:t>Adopt</a:t>
                </a:r>
              </a:p>
              <a:p>
                <a:pPr algn="l" defTabSz="1828754" hangingPunct="1">
                  <a:defRPr/>
                </a:pPr>
                <a:r>
                  <a:rPr lang="en-US" sz="2800" kern="1200" dirty="0">
                    <a:solidFill>
                      <a:prstClr val="white"/>
                    </a:solidFill>
                    <a:latin typeface="IBM Plex Sans Light" panose="020B0403050203000203" pitchFamily="34" charset="0"/>
                  </a:rPr>
                  <a:t>Deploy solutions and begin to see real business value</a:t>
                </a:r>
              </a:p>
            </p:txBody>
          </p:sp>
          <p:sp>
            <p:nvSpPr>
              <p:cNvPr id="201" name="TextBox 200">
                <a:extLst>
                  <a:ext uri="{FF2B5EF4-FFF2-40B4-BE49-F238E27FC236}">
                    <a16:creationId xmlns:a16="http://schemas.microsoft.com/office/drawing/2014/main" id="{74DF16E5-20AC-EB45-9917-FD626326B1C1}"/>
                  </a:ext>
                </a:extLst>
              </p:cNvPr>
              <p:cNvSpPr txBox="1"/>
              <p:nvPr/>
            </p:nvSpPr>
            <p:spPr>
              <a:xfrm>
                <a:off x="9586939" y="1452391"/>
                <a:ext cx="1565040" cy="1000274"/>
              </a:xfrm>
              <a:prstGeom prst="rect">
                <a:avLst/>
              </a:prstGeom>
              <a:noFill/>
            </p:spPr>
            <p:txBody>
              <a:bodyPr wrap="square" rtlCol="0">
                <a:spAutoFit/>
              </a:bodyPr>
              <a:lstStyle/>
              <a:p>
                <a:pPr algn="l" defTabSz="1828754" hangingPunct="1">
                  <a:defRPr/>
                </a:pPr>
                <a:r>
                  <a:rPr lang="en-US" sz="4000" b="1" kern="1200" dirty="0">
                    <a:solidFill>
                      <a:prstClr val="white"/>
                    </a:solidFill>
                    <a:latin typeface="IBM Plex Sans" panose="020B0503050203000203" pitchFamily="34" charset="0"/>
                  </a:rPr>
                  <a:t>Scale</a:t>
                </a:r>
              </a:p>
              <a:p>
                <a:pPr algn="l" defTabSz="1828754" hangingPunct="1">
                  <a:defRPr/>
                </a:pPr>
                <a:r>
                  <a:rPr lang="en-US" sz="2800" kern="1200" dirty="0">
                    <a:solidFill>
                      <a:prstClr val="white"/>
                    </a:solidFill>
                    <a:latin typeface="IBM Plex Sans Light" panose="020B0403050203000203" pitchFamily="34" charset="0"/>
                  </a:rPr>
                  <a:t>Distribute success across organization </a:t>
                </a:r>
              </a:p>
            </p:txBody>
          </p:sp>
          <p:sp>
            <p:nvSpPr>
              <p:cNvPr id="202" name="TextBox 201">
                <a:extLst>
                  <a:ext uri="{FF2B5EF4-FFF2-40B4-BE49-F238E27FC236}">
                    <a16:creationId xmlns:a16="http://schemas.microsoft.com/office/drawing/2014/main" id="{7097587D-C00C-5D4E-ACF1-52396A69082C}"/>
                  </a:ext>
                </a:extLst>
              </p:cNvPr>
              <p:cNvSpPr txBox="1"/>
              <p:nvPr/>
            </p:nvSpPr>
            <p:spPr>
              <a:xfrm>
                <a:off x="10926902" y="5804510"/>
                <a:ext cx="691055" cy="415499"/>
              </a:xfrm>
              <a:prstGeom prst="rect">
                <a:avLst/>
              </a:prstGeom>
              <a:noFill/>
            </p:spPr>
            <p:txBody>
              <a:bodyPr wrap="none" rtlCol="0">
                <a:spAutoFit/>
              </a:bodyPr>
              <a:lstStyle/>
              <a:p>
                <a:pPr algn="l" defTabSz="1828754" hangingPunct="1">
                  <a:defRPr/>
                </a:pPr>
                <a:r>
                  <a:rPr lang="en-US" i="1" kern="1200" dirty="0">
                    <a:solidFill>
                      <a:srgbClr val="0B2545"/>
                    </a:solidFill>
                    <a:latin typeface="IBM Plex Sans" panose="020B0503050203000203" pitchFamily="34" charset="0"/>
                  </a:rPr>
                  <a:t>Solution </a:t>
                </a:r>
              </a:p>
              <a:p>
                <a:pPr algn="l" defTabSz="1828754" hangingPunct="1">
                  <a:defRPr/>
                </a:pPr>
                <a:r>
                  <a:rPr lang="en-US" i="1" kern="1200" dirty="0">
                    <a:solidFill>
                      <a:srgbClr val="0B2545"/>
                    </a:solidFill>
                    <a:latin typeface="IBM Plex Sans" panose="020B0503050203000203" pitchFamily="34" charset="0"/>
                  </a:rPr>
                  <a:t>Maturity</a:t>
                </a:r>
              </a:p>
            </p:txBody>
          </p:sp>
          <p:sp>
            <p:nvSpPr>
              <p:cNvPr id="203" name="TextBox 202">
                <a:extLst>
                  <a:ext uri="{FF2B5EF4-FFF2-40B4-BE49-F238E27FC236}">
                    <a16:creationId xmlns:a16="http://schemas.microsoft.com/office/drawing/2014/main" id="{928935E4-168A-FD4E-A332-87D526034C3B}"/>
                  </a:ext>
                </a:extLst>
              </p:cNvPr>
              <p:cNvSpPr txBox="1"/>
              <p:nvPr/>
            </p:nvSpPr>
            <p:spPr>
              <a:xfrm>
                <a:off x="196894" y="1561661"/>
                <a:ext cx="777617" cy="692498"/>
              </a:xfrm>
              <a:prstGeom prst="rect">
                <a:avLst/>
              </a:prstGeom>
              <a:noFill/>
            </p:spPr>
            <p:txBody>
              <a:bodyPr wrap="none" rtlCol="0">
                <a:spAutoFit/>
              </a:bodyPr>
              <a:lstStyle/>
              <a:p>
                <a:pPr algn="l" defTabSz="1828754" hangingPunct="1">
                  <a:defRPr/>
                </a:pPr>
                <a:r>
                  <a:rPr lang="en-US" sz="2800" b="1" kern="1200" dirty="0">
                    <a:solidFill>
                      <a:prstClr val="white"/>
                    </a:solidFill>
                    <a:latin typeface="IBM Plex Sans" panose="020B0503050203000203" pitchFamily="34" charset="0"/>
                  </a:rPr>
                  <a:t>Client </a:t>
                </a:r>
              </a:p>
              <a:p>
                <a:pPr algn="l" defTabSz="1828754" hangingPunct="1">
                  <a:defRPr/>
                </a:pPr>
                <a:r>
                  <a:rPr lang="en-US" sz="2800" b="1" kern="1200" dirty="0">
                    <a:solidFill>
                      <a:prstClr val="white"/>
                    </a:solidFill>
                    <a:latin typeface="IBM Plex Sans" panose="020B0503050203000203" pitchFamily="34" charset="0"/>
                  </a:rPr>
                  <a:t>Journey</a:t>
                </a:r>
              </a:p>
              <a:p>
                <a:pPr algn="l" defTabSz="1828754" hangingPunct="1">
                  <a:defRPr/>
                </a:pPr>
                <a:r>
                  <a:rPr lang="en-US" sz="2800" b="1" kern="1200" dirty="0">
                    <a:solidFill>
                      <a:prstClr val="white"/>
                    </a:solidFill>
                    <a:latin typeface="IBM Plex Sans" panose="020B0503050203000203" pitchFamily="34" charset="0"/>
                  </a:rPr>
                  <a:t>Stages</a:t>
                </a:r>
                <a:endParaRPr lang="en-US" sz="2102" kern="1200" dirty="0">
                  <a:solidFill>
                    <a:prstClr val="white"/>
                  </a:solidFill>
                  <a:latin typeface="IBM Plex Sans Light" panose="020B0403050203000203" pitchFamily="34" charset="0"/>
                </a:endParaRPr>
              </a:p>
            </p:txBody>
          </p:sp>
          <p:sp>
            <p:nvSpPr>
              <p:cNvPr id="204" name="TextBox 203">
                <a:extLst>
                  <a:ext uri="{FF2B5EF4-FFF2-40B4-BE49-F238E27FC236}">
                    <a16:creationId xmlns:a16="http://schemas.microsoft.com/office/drawing/2014/main" id="{BB43AD8B-AA83-614D-BBC2-8B97FFA6D70A}"/>
                  </a:ext>
                </a:extLst>
              </p:cNvPr>
              <p:cNvSpPr txBox="1"/>
              <p:nvPr/>
            </p:nvSpPr>
            <p:spPr>
              <a:xfrm>
                <a:off x="8185965" y="5420883"/>
                <a:ext cx="1143077" cy="261610"/>
              </a:xfrm>
              <a:prstGeom prst="rect">
                <a:avLst/>
              </a:prstGeom>
              <a:noFill/>
            </p:spPr>
            <p:txBody>
              <a:bodyPr wrap="square" rtlCol="0">
                <a:spAutoFit/>
              </a:bodyPr>
              <a:lstStyle/>
              <a:p>
                <a:pPr algn="l" defTabSz="1828754" hangingPunct="1">
                  <a:defRPr/>
                </a:pPr>
                <a:r>
                  <a:rPr lang="en-US" sz="2800" b="1" i="1" kern="1200" dirty="0">
                    <a:solidFill>
                      <a:srgbClr val="0B2545"/>
                    </a:solidFill>
                    <a:latin typeface="IBM Plex Sans" panose="020B0503050203000203" pitchFamily="34" charset="0"/>
                  </a:rPr>
                  <a:t>Expert Labs</a:t>
                </a:r>
                <a:endParaRPr lang="en-US" sz="2102" i="1" kern="1200" dirty="0">
                  <a:solidFill>
                    <a:srgbClr val="0B2545"/>
                  </a:solidFill>
                  <a:latin typeface="IBM Plex Sans Light" panose="020B0403050203000203" pitchFamily="34" charset="0"/>
                </a:endParaRPr>
              </a:p>
            </p:txBody>
          </p:sp>
          <p:sp>
            <p:nvSpPr>
              <p:cNvPr id="205" name="TextBox 204">
                <a:extLst>
                  <a:ext uri="{FF2B5EF4-FFF2-40B4-BE49-F238E27FC236}">
                    <a16:creationId xmlns:a16="http://schemas.microsoft.com/office/drawing/2014/main" id="{F6EFA0C4-0666-6C4F-B629-8E310D48EB75}"/>
                  </a:ext>
                </a:extLst>
              </p:cNvPr>
              <p:cNvSpPr txBox="1"/>
              <p:nvPr/>
            </p:nvSpPr>
            <p:spPr>
              <a:xfrm>
                <a:off x="10652119" y="3781443"/>
                <a:ext cx="1195868" cy="353943"/>
              </a:xfrm>
              <a:prstGeom prst="rect">
                <a:avLst/>
              </a:prstGeom>
              <a:noFill/>
            </p:spPr>
            <p:txBody>
              <a:bodyPr wrap="square" rtlCol="0">
                <a:spAutoFit/>
              </a:bodyPr>
              <a:lstStyle/>
              <a:p>
                <a:pPr algn="l" defTabSz="1828754" hangingPunct="1">
                  <a:defRPr/>
                </a:pPr>
                <a:r>
                  <a:rPr lang="en-US" altLang="en-US" sz="2000" b="1" kern="1200" dirty="0">
                    <a:solidFill>
                      <a:srgbClr val="0B2545"/>
                    </a:solidFill>
                    <a:latin typeface="IBM Plex Sans" panose="020B0503050203000203" pitchFamily="34" charset="0"/>
                  </a:rPr>
                  <a:t>Upskill</a:t>
                </a:r>
              </a:p>
              <a:p>
                <a:pPr algn="l" defTabSz="1828754" hangingPunct="1">
                  <a:defRPr/>
                </a:pPr>
                <a:r>
                  <a:rPr lang="en-US" altLang="en-US" sz="2000" b="1" kern="1200" dirty="0">
                    <a:solidFill>
                      <a:srgbClr val="0B2545"/>
                    </a:solidFill>
                    <a:latin typeface="IBM Plex Sans" panose="020B0503050203000203" pitchFamily="34" charset="0"/>
                  </a:rPr>
                  <a:t>Employees</a:t>
                </a:r>
              </a:p>
            </p:txBody>
          </p:sp>
          <p:sp>
            <p:nvSpPr>
              <p:cNvPr id="206" name="Chevron 205">
                <a:extLst>
                  <a:ext uri="{FF2B5EF4-FFF2-40B4-BE49-F238E27FC236}">
                    <a16:creationId xmlns:a16="http://schemas.microsoft.com/office/drawing/2014/main" id="{69CD6EA3-FC54-E14D-AACE-96ED6435E29C}"/>
                  </a:ext>
                </a:extLst>
              </p:cNvPr>
              <p:cNvSpPr/>
              <p:nvPr/>
            </p:nvSpPr>
            <p:spPr>
              <a:xfrm>
                <a:off x="1128015" y="1467423"/>
                <a:ext cx="335611" cy="932419"/>
              </a:xfrm>
              <a:prstGeom prst="chevron">
                <a:avLst>
                  <a:gd name="adj" fmla="val 63027"/>
                </a:avLst>
              </a:prstGeom>
              <a:solidFill>
                <a:schemeClr val="bg1">
                  <a:lumMod val="95000"/>
                </a:schemeClr>
              </a:solidFill>
            </p:spPr>
            <p:txBody>
              <a:bodyPr wrap="square" lIns="0" tIns="0" rIns="0" bIns="0" rtlCol="0" anchor="ctr">
                <a:noAutofit/>
              </a:bodyPr>
              <a:lstStyle/>
              <a:p>
                <a:pPr defTabSz="1828754" hangingPunct="1">
                  <a:defRPr/>
                </a:pPr>
                <a:endParaRPr lang="en-US" kern="1200" dirty="0" err="1">
                  <a:solidFill>
                    <a:prstClr val="white"/>
                  </a:solidFill>
                  <a:latin typeface="Arial"/>
                  <a:cs typeface="Arial"/>
                </a:endParaRPr>
              </a:p>
            </p:txBody>
          </p:sp>
          <p:cxnSp>
            <p:nvCxnSpPr>
              <p:cNvPr id="54" name="Straight Connector 53">
                <a:extLst>
                  <a:ext uri="{FF2B5EF4-FFF2-40B4-BE49-F238E27FC236}">
                    <a16:creationId xmlns:a16="http://schemas.microsoft.com/office/drawing/2014/main" id="{5A19EE24-C9DF-0941-8D53-2DA04525E419}"/>
                  </a:ext>
                </a:extLst>
              </p:cNvPr>
              <p:cNvCxnSpPr>
                <a:cxnSpLocks/>
              </p:cNvCxnSpPr>
              <p:nvPr/>
            </p:nvCxnSpPr>
            <p:spPr>
              <a:xfrm>
                <a:off x="1596886" y="6252954"/>
                <a:ext cx="9900413" cy="24527"/>
              </a:xfrm>
              <a:prstGeom prst="line">
                <a:avLst/>
              </a:prstGeom>
              <a:ln>
                <a:solidFill>
                  <a:srgbClr val="FFC000"/>
                </a:solidFill>
                <a:tailEnd type="triangle"/>
              </a:ln>
            </p:spPr>
            <p:style>
              <a:lnRef idx="3">
                <a:schemeClr val="dk1"/>
              </a:lnRef>
              <a:fillRef idx="0">
                <a:schemeClr val="dk1"/>
              </a:fillRef>
              <a:effectRef idx="2">
                <a:schemeClr val="dk1"/>
              </a:effectRef>
              <a:fontRef idx="minor">
                <a:schemeClr val="tx1"/>
              </a:fontRef>
            </p:style>
          </p:cxnSp>
          <p:sp>
            <p:nvSpPr>
              <p:cNvPr id="55" name="TextBox 54">
                <a:extLst>
                  <a:ext uri="{FF2B5EF4-FFF2-40B4-BE49-F238E27FC236}">
                    <a16:creationId xmlns:a16="http://schemas.microsoft.com/office/drawing/2014/main" id="{93C26F26-597A-934B-A2D9-46B7E1DC3ECA}"/>
                  </a:ext>
                </a:extLst>
              </p:cNvPr>
              <p:cNvSpPr txBox="1"/>
              <p:nvPr/>
            </p:nvSpPr>
            <p:spPr>
              <a:xfrm>
                <a:off x="4378533" y="6391114"/>
                <a:ext cx="3765708" cy="261610"/>
              </a:xfrm>
              <a:prstGeom prst="rect">
                <a:avLst/>
              </a:prstGeom>
              <a:noFill/>
            </p:spPr>
            <p:txBody>
              <a:bodyPr wrap="square" rtlCol="0">
                <a:spAutoFit/>
              </a:bodyPr>
              <a:lstStyle/>
              <a:p>
                <a:pPr algn="l" defTabSz="1828754" hangingPunct="1">
                  <a:defRPr/>
                </a:pPr>
                <a:r>
                  <a:rPr lang="en-US" sz="2800" kern="1200" dirty="0">
                    <a:solidFill>
                      <a:srgbClr val="FFC000"/>
                    </a:solidFill>
                    <a:latin typeface="Calibri"/>
                  </a:rPr>
                  <a:t>Continual investment with IBM CSM</a:t>
                </a:r>
              </a:p>
            </p:txBody>
          </p:sp>
          <p:sp>
            <p:nvSpPr>
              <p:cNvPr id="66" name="TextBox 65">
                <a:extLst>
                  <a:ext uri="{FF2B5EF4-FFF2-40B4-BE49-F238E27FC236}">
                    <a16:creationId xmlns:a16="http://schemas.microsoft.com/office/drawing/2014/main" id="{7EDBCC3B-6B34-634C-BFDD-912E84EE08C0}"/>
                  </a:ext>
                </a:extLst>
              </p:cNvPr>
              <p:cNvSpPr txBox="1"/>
              <p:nvPr/>
            </p:nvSpPr>
            <p:spPr>
              <a:xfrm>
                <a:off x="3588220" y="4984837"/>
                <a:ext cx="799225" cy="353943"/>
              </a:xfrm>
              <a:prstGeom prst="rect">
                <a:avLst/>
              </a:prstGeom>
              <a:noFill/>
            </p:spPr>
            <p:txBody>
              <a:bodyPr wrap="square" rtlCol="0">
                <a:spAutoFit/>
              </a:bodyPr>
              <a:lstStyle/>
              <a:p>
                <a:pPr algn="l" defTabSz="1828754" hangingPunct="1">
                  <a:defRPr/>
                </a:pPr>
                <a:r>
                  <a:rPr lang="en-US" altLang="en-US" sz="2000" b="1" kern="1200" dirty="0">
                    <a:solidFill>
                      <a:srgbClr val="0B2545"/>
                    </a:solidFill>
                    <a:latin typeface="IBM Plex Sans" panose="020B0503050203000203" pitchFamily="34" charset="0"/>
                  </a:rPr>
                  <a:t>Detailed</a:t>
                </a:r>
              </a:p>
              <a:p>
                <a:pPr algn="l" defTabSz="1828754" hangingPunct="1">
                  <a:defRPr/>
                </a:pPr>
                <a:r>
                  <a:rPr lang="en-US" altLang="en-US" sz="2000" b="1" kern="1200" dirty="0">
                    <a:solidFill>
                      <a:srgbClr val="0B2545"/>
                    </a:solidFill>
                    <a:latin typeface="IBM Plex Sans" panose="020B0503050203000203" pitchFamily="34" charset="0"/>
                  </a:rPr>
                  <a:t>Analysis</a:t>
                </a:r>
              </a:p>
            </p:txBody>
          </p:sp>
          <p:sp>
            <p:nvSpPr>
              <p:cNvPr id="67" name="Oval 66">
                <a:extLst>
                  <a:ext uri="{FF2B5EF4-FFF2-40B4-BE49-F238E27FC236}">
                    <a16:creationId xmlns:a16="http://schemas.microsoft.com/office/drawing/2014/main" id="{419998C2-1E04-5745-AF1F-3CEA36F99B23}"/>
                  </a:ext>
                </a:extLst>
              </p:cNvPr>
              <p:cNvSpPr/>
              <p:nvPr/>
            </p:nvSpPr>
            <p:spPr>
              <a:xfrm>
                <a:off x="3751373" y="4746145"/>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68" name="Oval 67">
                <a:extLst>
                  <a:ext uri="{FF2B5EF4-FFF2-40B4-BE49-F238E27FC236}">
                    <a16:creationId xmlns:a16="http://schemas.microsoft.com/office/drawing/2014/main" id="{CB6D0E48-77AF-7C46-B959-5DEFC6AE508C}"/>
                  </a:ext>
                </a:extLst>
              </p:cNvPr>
              <p:cNvSpPr>
                <a:spLocks noChangeAspect="1"/>
              </p:cNvSpPr>
              <p:nvPr/>
            </p:nvSpPr>
            <p:spPr>
              <a:xfrm>
                <a:off x="5058699" y="4592837"/>
                <a:ext cx="131451" cy="128016"/>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69" name="Rectangle 15">
                <a:extLst>
                  <a:ext uri="{FF2B5EF4-FFF2-40B4-BE49-F238E27FC236}">
                    <a16:creationId xmlns:a16="http://schemas.microsoft.com/office/drawing/2014/main" id="{1A563726-3787-874B-9A58-57168D3F853F}"/>
                  </a:ext>
                </a:extLst>
              </p:cNvPr>
              <p:cNvSpPr>
                <a:spLocks noChangeArrowheads="1"/>
              </p:cNvSpPr>
              <p:nvPr/>
            </p:nvSpPr>
            <p:spPr bwMode="auto">
              <a:xfrm>
                <a:off x="4869687" y="4769109"/>
                <a:ext cx="687503" cy="200055"/>
              </a:xfrm>
              <a:prstGeom prst="rect">
                <a:avLst/>
              </a:prstGeom>
              <a:noFill/>
              <a:ln>
                <a:noFill/>
              </a:ln>
            </p:spPr>
            <p:txBody>
              <a:bodyPr wrap="square">
                <a:spAutoFit/>
              </a:bodyPr>
              <a:lstStyle>
                <a:lvl1pPr marL="119063" indent="-119063"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marL="0" indent="0" algn="l" defTabSz="1828754" eaLnBrk="1" hangingPunct="1">
                  <a:defRPr/>
                </a:pPr>
                <a:r>
                  <a:rPr lang="en-US" altLang="en-US" b="1" kern="1200" dirty="0">
                    <a:solidFill>
                      <a:srgbClr val="0B2545"/>
                    </a:solidFill>
                    <a:latin typeface="IBM Plex Sans" panose="020B0503050203000203" pitchFamily="34" charset="0"/>
                  </a:rPr>
                  <a:t>MVP</a:t>
                </a:r>
              </a:p>
            </p:txBody>
          </p:sp>
          <p:sp>
            <p:nvSpPr>
              <p:cNvPr id="70" name="Oval 69">
                <a:extLst>
                  <a:ext uri="{FF2B5EF4-FFF2-40B4-BE49-F238E27FC236}">
                    <a16:creationId xmlns:a16="http://schemas.microsoft.com/office/drawing/2014/main" id="{5A2A8326-BA48-6D48-9BCF-EF7B41318F00}"/>
                  </a:ext>
                </a:extLst>
              </p:cNvPr>
              <p:cNvSpPr>
                <a:spLocks noChangeAspect="1"/>
              </p:cNvSpPr>
              <p:nvPr/>
            </p:nvSpPr>
            <p:spPr>
              <a:xfrm>
                <a:off x="6199371" y="4623913"/>
                <a:ext cx="128016" cy="128016"/>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77" name="Oval 76">
                <a:extLst>
                  <a:ext uri="{FF2B5EF4-FFF2-40B4-BE49-F238E27FC236}">
                    <a16:creationId xmlns:a16="http://schemas.microsoft.com/office/drawing/2014/main" id="{C0FCA6B0-6344-4E40-8A00-D6A399FCAFE8}"/>
                  </a:ext>
                </a:extLst>
              </p:cNvPr>
              <p:cNvSpPr>
                <a:spLocks noChangeAspect="1"/>
              </p:cNvSpPr>
              <p:nvPr/>
            </p:nvSpPr>
            <p:spPr>
              <a:xfrm>
                <a:off x="6199371" y="4623913"/>
                <a:ext cx="128016" cy="128016"/>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78" name="5-point Star 77">
                <a:extLst>
                  <a:ext uri="{FF2B5EF4-FFF2-40B4-BE49-F238E27FC236}">
                    <a16:creationId xmlns:a16="http://schemas.microsoft.com/office/drawing/2014/main" id="{92C57E4B-5A78-5040-9303-DEA1CBEB6177}"/>
                  </a:ext>
                </a:extLst>
              </p:cNvPr>
              <p:cNvSpPr/>
              <p:nvPr/>
            </p:nvSpPr>
            <p:spPr>
              <a:xfrm>
                <a:off x="144354" y="6285507"/>
                <a:ext cx="456201" cy="393730"/>
              </a:xfrm>
              <a:prstGeom prst="star5">
                <a:avLst>
                  <a:gd name="adj" fmla="val 15764"/>
                  <a:gd name="hf" fmla="val 105146"/>
                  <a:gd name="vf" fmla="val 110557"/>
                </a:avLst>
              </a:prstGeom>
              <a:solidFill>
                <a:srgbClr val="FFC0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endParaRPr lang="en-US" sz="3800" kern="1200" dirty="0">
                  <a:solidFill>
                    <a:prstClr val="white"/>
                  </a:solidFill>
                  <a:latin typeface="Calibri"/>
                </a:endParaRPr>
              </a:p>
            </p:txBody>
          </p:sp>
          <p:sp>
            <p:nvSpPr>
              <p:cNvPr id="79" name="TextBox 78">
                <a:extLst>
                  <a:ext uri="{FF2B5EF4-FFF2-40B4-BE49-F238E27FC236}">
                    <a16:creationId xmlns:a16="http://schemas.microsoft.com/office/drawing/2014/main" id="{FFB8E416-200A-454F-8862-6F19180F7B10}"/>
                  </a:ext>
                </a:extLst>
              </p:cNvPr>
              <p:cNvSpPr txBox="1"/>
              <p:nvPr/>
            </p:nvSpPr>
            <p:spPr>
              <a:xfrm>
                <a:off x="34776" y="5848458"/>
                <a:ext cx="735106" cy="415499"/>
              </a:xfrm>
              <a:prstGeom prst="rect">
                <a:avLst/>
              </a:prstGeom>
              <a:noFill/>
            </p:spPr>
            <p:txBody>
              <a:bodyPr wrap="none" rtlCol="0">
                <a:spAutoFit/>
              </a:bodyPr>
              <a:lstStyle/>
              <a:p>
                <a:pPr defTabSz="1828754" hangingPunct="1">
                  <a:defRPr/>
                </a:pPr>
                <a:r>
                  <a:rPr lang="en-US" b="1" kern="1200" dirty="0">
                    <a:solidFill>
                      <a:srgbClr val="FFC000"/>
                    </a:solidFill>
                    <a:latin typeface="Calibri"/>
                  </a:rPr>
                  <a:t>Key </a:t>
                </a:r>
              </a:p>
              <a:p>
                <a:pPr defTabSz="1828754" hangingPunct="1">
                  <a:defRPr/>
                </a:pPr>
                <a:r>
                  <a:rPr lang="en-US" b="1" kern="1200" dirty="0">
                    <a:solidFill>
                      <a:srgbClr val="FFC000"/>
                    </a:solidFill>
                    <a:latin typeface="Calibri"/>
                  </a:rPr>
                  <a:t>Milestone</a:t>
                </a:r>
              </a:p>
            </p:txBody>
          </p:sp>
          <p:sp>
            <p:nvSpPr>
              <p:cNvPr id="82" name="Rectangle 81">
                <a:extLst>
                  <a:ext uri="{FF2B5EF4-FFF2-40B4-BE49-F238E27FC236}">
                    <a16:creationId xmlns:a16="http://schemas.microsoft.com/office/drawing/2014/main" id="{1E5C300C-CB18-4A4A-AC9A-927F9A08812A}"/>
                  </a:ext>
                </a:extLst>
              </p:cNvPr>
              <p:cNvSpPr/>
              <p:nvPr/>
            </p:nvSpPr>
            <p:spPr>
              <a:xfrm>
                <a:off x="2044380" y="5577854"/>
                <a:ext cx="1453895" cy="353943"/>
              </a:xfrm>
              <a:prstGeom prst="rect">
                <a:avLst/>
              </a:prstGeom>
            </p:spPr>
            <p:txBody>
              <a:bodyPr wrap="square">
                <a:spAutoFit/>
              </a:bodyPr>
              <a:lstStyle/>
              <a:p>
                <a:pPr algn="l" defTabSz="1828754" hangingPunct="1">
                  <a:defRPr/>
                </a:pPr>
                <a:r>
                  <a:rPr lang="en-US" altLang="en-US" sz="2000" b="1" kern="1200" dirty="0">
                    <a:solidFill>
                      <a:srgbClr val="0B2545"/>
                    </a:solidFill>
                    <a:latin typeface="IBM Plex Sans" panose="020B0503050203000203" pitchFamily="34" charset="0"/>
                  </a:rPr>
                  <a:t>High Level </a:t>
                </a:r>
              </a:p>
              <a:p>
                <a:pPr algn="l" defTabSz="1828754" hangingPunct="1">
                  <a:defRPr/>
                </a:pPr>
                <a:r>
                  <a:rPr lang="en-US" altLang="en-US" sz="2000" b="1" kern="1200" dirty="0">
                    <a:solidFill>
                      <a:srgbClr val="0B2545"/>
                    </a:solidFill>
                    <a:latin typeface="IBM Plex Sans" panose="020B0503050203000203" pitchFamily="34" charset="0"/>
                  </a:rPr>
                  <a:t>Plan</a:t>
                </a:r>
              </a:p>
            </p:txBody>
          </p:sp>
          <p:sp>
            <p:nvSpPr>
              <p:cNvPr id="83" name="5-point Star 82">
                <a:extLst>
                  <a:ext uri="{FF2B5EF4-FFF2-40B4-BE49-F238E27FC236}">
                    <a16:creationId xmlns:a16="http://schemas.microsoft.com/office/drawing/2014/main" id="{0A8C048D-0F30-484B-B0D6-32DC2FC790F8}"/>
                  </a:ext>
                </a:extLst>
              </p:cNvPr>
              <p:cNvSpPr/>
              <p:nvPr/>
            </p:nvSpPr>
            <p:spPr>
              <a:xfrm>
                <a:off x="2043311" y="5110213"/>
                <a:ext cx="456201" cy="393730"/>
              </a:xfrm>
              <a:prstGeom prst="star5">
                <a:avLst>
                  <a:gd name="adj" fmla="val 15764"/>
                  <a:gd name="hf" fmla="val 105146"/>
                  <a:gd name="vf" fmla="val 110557"/>
                </a:avLst>
              </a:prstGeom>
              <a:solidFill>
                <a:srgbClr val="00B050"/>
              </a:solidFill>
              <a:ln>
                <a:solidFill>
                  <a:srgbClr val="009193"/>
                </a:solidFill>
              </a:ln>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endParaRPr lang="en-US" sz="3800" kern="1200">
                  <a:solidFill>
                    <a:prstClr val="white"/>
                  </a:solidFill>
                  <a:latin typeface="Calibri"/>
                </a:endParaRPr>
              </a:p>
            </p:txBody>
          </p:sp>
          <p:sp>
            <p:nvSpPr>
              <p:cNvPr id="89" name="Rectangle 15">
                <a:extLst>
                  <a:ext uri="{FF2B5EF4-FFF2-40B4-BE49-F238E27FC236}">
                    <a16:creationId xmlns:a16="http://schemas.microsoft.com/office/drawing/2014/main" id="{784571F2-0EE3-4A49-AF71-79FE9890C10F}"/>
                  </a:ext>
                </a:extLst>
              </p:cNvPr>
              <p:cNvSpPr>
                <a:spLocks noChangeArrowheads="1"/>
              </p:cNvSpPr>
              <p:nvPr/>
            </p:nvSpPr>
            <p:spPr bwMode="auto">
              <a:xfrm>
                <a:off x="5413268" y="4912162"/>
                <a:ext cx="1596173" cy="353943"/>
              </a:xfrm>
              <a:prstGeom prst="rect">
                <a:avLst/>
              </a:prstGeom>
              <a:noFill/>
              <a:ln>
                <a:noFill/>
              </a:ln>
            </p:spPr>
            <p:txBody>
              <a:bodyPr wrap="square">
                <a:spAutoFit/>
              </a:bodyPr>
              <a:lstStyle>
                <a:lvl1pPr marL="119063" indent="-119063"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marL="0" indent="0" algn="l" defTabSz="1828754" eaLnBrk="1" hangingPunct="1">
                  <a:defRPr/>
                </a:pPr>
                <a:r>
                  <a:rPr lang="en-US" altLang="en-US" b="1" kern="1200" dirty="0">
                    <a:solidFill>
                      <a:srgbClr val="0B2545"/>
                    </a:solidFill>
                    <a:latin typeface="IBM Plex Sans" panose="020B0503050203000203" pitchFamily="34" charset="0"/>
                  </a:rPr>
                  <a:t>Present findings &amp; </a:t>
                </a:r>
              </a:p>
              <a:p>
                <a:pPr marL="0" indent="0" algn="l" defTabSz="1828754" eaLnBrk="1" hangingPunct="1">
                  <a:defRPr/>
                </a:pPr>
                <a:r>
                  <a:rPr lang="en-US" altLang="en-US" b="1" kern="1200" dirty="0">
                    <a:solidFill>
                      <a:srgbClr val="0B2545"/>
                    </a:solidFill>
                    <a:latin typeface="IBM Plex Sans" panose="020B0503050203000203" pitchFamily="34" charset="0"/>
                  </a:rPr>
                  <a:t>Agree on Formal Plan</a:t>
                </a:r>
              </a:p>
            </p:txBody>
          </p:sp>
          <p:sp>
            <p:nvSpPr>
              <p:cNvPr id="90" name="Rectangle 15">
                <a:extLst>
                  <a:ext uri="{FF2B5EF4-FFF2-40B4-BE49-F238E27FC236}">
                    <a16:creationId xmlns:a16="http://schemas.microsoft.com/office/drawing/2014/main" id="{C8E49DA4-8F6B-7646-A2E5-3FD1AA020CA4}"/>
                  </a:ext>
                </a:extLst>
              </p:cNvPr>
              <p:cNvSpPr>
                <a:spLocks noChangeArrowheads="1"/>
              </p:cNvSpPr>
              <p:nvPr/>
            </p:nvSpPr>
            <p:spPr bwMode="auto">
              <a:xfrm>
                <a:off x="6743398" y="4643263"/>
                <a:ext cx="1367313"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19063" indent="-119063"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marL="0" indent="0" algn="l" defTabSz="1828754" eaLnBrk="1" hangingPunct="1">
                  <a:defRPr/>
                </a:pPr>
                <a:r>
                  <a:rPr lang="en-US" altLang="en-US" b="1" kern="1200" dirty="0">
                    <a:solidFill>
                      <a:srgbClr val="0B2545"/>
                    </a:solidFill>
                    <a:latin typeface="IBM Plex Sans" panose="020B0503050203000203" pitchFamily="34" charset="0"/>
                  </a:rPr>
                  <a:t>Use Case</a:t>
                </a:r>
              </a:p>
              <a:p>
                <a:pPr marL="0" indent="0" algn="l" defTabSz="1828754" eaLnBrk="1" hangingPunct="1">
                  <a:defRPr/>
                </a:pPr>
                <a:r>
                  <a:rPr lang="en-US" altLang="en-US" b="1" kern="1200" dirty="0">
                    <a:solidFill>
                      <a:srgbClr val="0B2545"/>
                    </a:solidFill>
                    <a:latin typeface="IBM Plex Sans" panose="020B0503050203000203" pitchFamily="34" charset="0"/>
                  </a:rPr>
                  <a:t>Development</a:t>
                </a:r>
              </a:p>
            </p:txBody>
          </p:sp>
          <p:sp>
            <p:nvSpPr>
              <p:cNvPr id="94" name="Oval 93">
                <a:extLst>
                  <a:ext uri="{FF2B5EF4-FFF2-40B4-BE49-F238E27FC236}">
                    <a16:creationId xmlns:a16="http://schemas.microsoft.com/office/drawing/2014/main" id="{B274C090-B94F-4744-B348-9A2722DF8AAC}"/>
                  </a:ext>
                </a:extLst>
              </p:cNvPr>
              <p:cNvSpPr/>
              <p:nvPr/>
            </p:nvSpPr>
            <p:spPr>
              <a:xfrm>
                <a:off x="2204857" y="5339456"/>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65" name="TextBox 64">
                <a:extLst>
                  <a:ext uri="{FF2B5EF4-FFF2-40B4-BE49-F238E27FC236}">
                    <a16:creationId xmlns:a16="http://schemas.microsoft.com/office/drawing/2014/main" id="{425C6514-1507-9F41-A493-797E129ADEE5}"/>
                  </a:ext>
                </a:extLst>
              </p:cNvPr>
              <p:cNvSpPr txBox="1"/>
              <p:nvPr/>
            </p:nvSpPr>
            <p:spPr>
              <a:xfrm>
                <a:off x="2812307" y="5082050"/>
                <a:ext cx="1174028" cy="353943"/>
              </a:xfrm>
              <a:prstGeom prst="rect">
                <a:avLst/>
              </a:prstGeom>
              <a:noFill/>
            </p:spPr>
            <p:txBody>
              <a:bodyPr wrap="square" rtlCol="0">
                <a:spAutoFit/>
              </a:bodyPr>
              <a:lstStyle/>
              <a:p>
                <a:pPr algn="l" defTabSz="1828754" hangingPunct="1">
                  <a:defRPr/>
                </a:pPr>
                <a:r>
                  <a:rPr lang="en-US" altLang="en-US" sz="2000" b="1" kern="1200" dirty="0">
                    <a:solidFill>
                      <a:srgbClr val="0B2545"/>
                    </a:solidFill>
                    <a:latin typeface="IBM Plex Sans" panose="020B0503050203000203" pitchFamily="34" charset="0"/>
                  </a:rPr>
                  <a:t>Benefit </a:t>
                </a:r>
              </a:p>
              <a:p>
                <a:pPr algn="l" defTabSz="1828754" hangingPunct="1">
                  <a:defRPr/>
                </a:pPr>
                <a:r>
                  <a:rPr lang="en-US" altLang="en-US" sz="2000" b="1" kern="1200" dirty="0">
                    <a:solidFill>
                      <a:srgbClr val="0B2545"/>
                    </a:solidFill>
                    <a:latin typeface="IBM Plex Sans" panose="020B0503050203000203" pitchFamily="34" charset="0"/>
                  </a:rPr>
                  <a:t>Case </a:t>
                </a:r>
              </a:p>
            </p:txBody>
          </p:sp>
          <p:sp>
            <p:nvSpPr>
              <p:cNvPr id="73" name="5-point Star 72">
                <a:extLst>
                  <a:ext uri="{FF2B5EF4-FFF2-40B4-BE49-F238E27FC236}">
                    <a16:creationId xmlns:a16="http://schemas.microsoft.com/office/drawing/2014/main" id="{6777E8B1-9BE1-4D40-98A3-2189B6EDBECF}"/>
                  </a:ext>
                </a:extLst>
              </p:cNvPr>
              <p:cNvSpPr/>
              <p:nvPr/>
            </p:nvSpPr>
            <p:spPr>
              <a:xfrm>
                <a:off x="2941941" y="4608724"/>
                <a:ext cx="456201" cy="393730"/>
              </a:xfrm>
              <a:prstGeom prst="star5">
                <a:avLst>
                  <a:gd name="adj" fmla="val 15764"/>
                  <a:gd name="hf" fmla="val 105146"/>
                  <a:gd name="vf" fmla="val 110557"/>
                </a:avLst>
              </a:prstGeom>
              <a:solidFill>
                <a:schemeClr val="tx1">
                  <a:lumMod val="10000"/>
                  <a:lumOff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endParaRPr lang="en-US" sz="3800" kern="1200">
                  <a:solidFill>
                    <a:prstClr val="white"/>
                  </a:solidFill>
                  <a:latin typeface="Calibri"/>
                </a:endParaRPr>
              </a:p>
            </p:txBody>
          </p:sp>
          <p:sp>
            <p:nvSpPr>
              <p:cNvPr id="74" name="Oval 73">
                <a:extLst>
                  <a:ext uri="{FF2B5EF4-FFF2-40B4-BE49-F238E27FC236}">
                    <a16:creationId xmlns:a16="http://schemas.microsoft.com/office/drawing/2014/main" id="{F410EE11-B3E2-9B44-AB10-709A4817D548}"/>
                  </a:ext>
                </a:extLst>
              </p:cNvPr>
              <p:cNvSpPr/>
              <p:nvPr/>
            </p:nvSpPr>
            <p:spPr>
              <a:xfrm>
                <a:off x="3093346" y="4940811"/>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grpSp>
      </p:grpSp>
      <p:sp>
        <p:nvSpPr>
          <p:cNvPr id="64" name="Folded Corner 63">
            <a:extLst>
              <a:ext uri="{FF2B5EF4-FFF2-40B4-BE49-F238E27FC236}">
                <a16:creationId xmlns:a16="http://schemas.microsoft.com/office/drawing/2014/main" id="{A79613AD-7A5E-0943-A7B1-D64CBCB2F55D}"/>
              </a:ext>
            </a:extLst>
          </p:cNvPr>
          <p:cNvSpPr/>
          <p:nvPr/>
        </p:nvSpPr>
        <p:spPr>
          <a:xfrm>
            <a:off x="14612475" y="128498"/>
            <a:ext cx="4201823" cy="1750210"/>
          </a:xfrm>
          <a:prstGeom prst="foldedCorner">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r>
              <a:rPr lang="en-US" sz="2000" b="1" kern="1200" dirty="0">
                <a:solidFill>
                  <a:srgbClr val="C00000"/>
                </a:solidFill>
                <a:latin typeface="Calibri"/>
              </a:rPr>
              <a:t>Timeline in this Deck subject to change based on </a:t>
            </a:r>
          </a:p>
          <a:p>
            <a:pPr defTabSz="1828754" hangingPunct="1">
              <a:defRPr/>
            </a:pPr>
            <a:r>
              <a:rPr lang="en-US" sz="2000" b="1" kern="1200" dirty="0">
                <a:solidFill>
                  <a:srgbClr val="C00000"/>
                </a:solidFill>
                <a:latin typeface="Calibri"/>
              </a:rPr>
              <a:t>&lt;customer&gt; confirming Scope</a:t>
            </a:r>
          </a:p>
        </p:txBody>
      </p:sp>
      <p:sp>
        <p:nvSpPr>
          <p:cNvPr id="56" name="TextBox 55">
            <a:extLst>
              <a:ext uri="{FF2B5EF4-FFF2-40B4-BE49-F238E27FC236}">
                <a16:creationId xmlns:a16="http://schemas.microsoft.com/office/drawing/2014/main" id="{EBDCDC12-E28E-F480-2F35-0B5FE4694158}"/>
              </a:ext>
            </a:extLst>
          </p:cNvPr>
          <p:cNvSpPr txBox="1"/>
          <p:nvPr/>
        </p:nvSpPr>
        <p:spPr>
          <a:xfrm>
            <a:off x="9556055" y="10691615"/>
            <a:ext cx="2286154" cy="954107"/>
          </a:xfrm>
          <a:prstGeom prst="rect">
            <a:avLst/>
          </a:prstGeom>
          <a:noFill/>
        </p:spPr>
        <p:txBody>
          <a:bodyPr wrap="square" rtlCol="0">
            <a:spAutoFit/>
          </a:bodyPr>
          <a:lstStyle/>
          <a:p>
            <a:pPr algn="l" defTabSz="1828754" hangingPunct="1">
              <a:defRPr/>
            </a:pPr>
            <a:r>
              <a:rPr lang="en-US" sz="2800" b="1" i="1" kern="1200" dirty="0">
                <a:solidFill>
                  <a:srgbClr val="0B2545"/>
                </a:solidFill>
                <a:latin typeface="IBM Plex Sans" panose="020B0503050203000203" pitchFamily="34" charset="0"/>
              </a:rPr>
              <a:t>Client Engineering </a:t>
            </a:r>
            <a:endParaRPr lang="en-US" sz="2102" i="1" kern="1200" dirty="0">
              <a:solidFill>
                <a:srgbClr val="0B2545"/>
              </a:solidFill>
              <a:latin typeface="IBM Plex Sans Light" panose="020B0403050203000203" pitchFamily="34" charset="0"/>
            </a:endParaRPr>
          </a:p>
        </p:txBody>
      </p:sp>
      <p:sp>
        <p:nvSpPr>
          <p:cNvPr id="57" name="5-point Star 56">
            <a:extLst>
              <a:ext uri="{FF2B5EF4-FFF2-40B4-BE49-F238E27FC236}">
                <a16:creationId xmlns:a16="http://schemas.microsoft.com/office/drawing/2014/main" id="{BA3B6948-95FE-2659-6D33-D493921A066A}"/>
              </a:ext>
            </a:extLst>
          </p:cNvPr>
          <p:cNvSpPr/>
          <p:nvPr/>
        </p:nvSpPr>
        <p:spPr>
          <a:xfrm>
            <a:off x="18741791" y="8269880"/>
            <a:ext cx="912402" cy="787460"/>
          </a:xfrm>
          <a:prstGeom prst="star5">
            <a:avLst>
              <a:gd name="adj" fmla="val 15764"/>
              <a:gd name="hf" fmla="val 105146"/>
              <a:gd name="vf" fmla="val 110557"/>
            </a:avLst>
          </a:prstGeom>
          <a:solidFill>
            <a:srgbClr val="FFC0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endParaRPr lang="en-US" sz="3800" kern="1200" dirty="0">
              <a:solidFill>
                <a:prstClr val="white"/>
              </a:solidFill>
              <a:latin typeface="Calibri"/>
            </a:endParaRPr>
          </a:p>
        </p:txBody>
      </p:sp>
      <p:sp>
        <p:nvSpPr>
          <p:cNvPr id="59" name="TextBox 58">
            <a:extLst>
              <a:ext uri="{FF2B5EF4-FFF2-40B4-BE49-F238E27FC236}">
                <a16:creationId xmlns:a16="http://schemas.microsoft.com/office/drawing/2014/main" id="{37501654-D2EB-EE3A-8ADC-97B77F594E19}"/>
              </a:ext>
            </a:extLst>
          </p:cNvPr>
          <p:cNvSpPr txBox="1"/>
          <p:nvPr/>
        </p:nvSpPr>
        <p:spPr>
          <a:xfrm>
            <a:off x="11512887" y="7884391"/>
            <a:ext cx="3355163" cy="707886"/>
          </a:xfrm>
          <a:prstGeom prst="rect">
            <a:avLst/>
          </a:prstGeom>
          <a:noFill/>
        </p:spPr>
        <p:txBody>
          <a:bodyPr wrap="square" rtlCol="0">
            <a:spAutoFit/>
          </a:bodyPr>
          <a:lstStyle/>
          <a:p>
            <a:pPr algn="l" defTabSz="1828754" hangingPunct="1">
              <a:defRPr/>
            </a:pPr>
            <a:r>
              <a:rPr lang="en-US" sz="2000" i="1" u="sng" kern="1200" dirty="0">
                <a:solidFill>
                  <a:srgbClr val="FFC000"/>
                </a:solidFill>
                <a:latin typeface="IBM Plex Sans" panose="020B0503050203000203" pitchFamily="34" charset="0"/>
              </a:rPr>
              <a:t>Gate: GO/NO GO</a:t>
            </a:r>
          </a:p>
          <a:p>
            <a:pPr marL="342900" indent="-342900" algn="l" defTabSz="1828754" hangingPunct="1">
              <a:buFont typeface="Wingdings" pitchFamily="2" charset="2"/>
              <a:buChar char="v"/>
              <a:defRPr/>
            </a:pPr>
            <a:r>
              <a:rPr lang="en-US" sz="2000" b="1" i="1" kern="1200" dirty="0">
                <a:solidFill>
                  <a:srgbClr val="FFC000"/>
                </a:solidFill>
                <a:latin typeface="IBM Plex Sans" panose="020B0503050203000203" pitchFamily="34" charset="0"/>
              </a:rPr>
              <a:t>Strategic Deployment</a:t>
            </a:r>
            <a:endParaRPr lang="en-US" sz="2000" i="1" kern="1200" dirty="0">
              <a:solidFill>
                <a:srgbClr val="FFC000"/>
              </a:solidFill>
              <a:latin typeface="IBM Plex Sans Light" panose="020B0403050203000203" pitchFamily="34" charset="0"/>
            </a:endParaRPr>
          </a:p>
        </p:txBody>
      </p:sp>
      <p:sp>
        <p:nvSpPr>
          <p:cNvPr id="60" name="TextBox 59">
            <a:extLst>
              <a:ext uri="{FF2B5EF4-FFF2-40B4-BE49-F238E27FC236}">
                <a16:creationId xmlns:a16="http://schemas.microsoft.com/office/drawing/2014/main" id="{E484C3F0-7D84-F0E1-B79C-9DCDA1AAF121}"/>
              </a:ext>
            </a:extLst>
          </p:cNvPr>
          <p:cNvSpPr txBox="1"/>
          <p:nvPr/>
        </p:nvSpPr>
        <p:spPr>
          <a:xfrm>
            <a:off x="16833065" y="7299214"/>
            <a:ext cx="3962465" cy="1015663"/>
          </a:xfrm>
          <a:prstGeom prst="rect">
            <a:avLst/>
          </a:prstGeom>
          <a:noFill/>
        </p:spPr>
        <p:txBody>
          <a:bodyPr wrap="square" rtlCol="0">
            <a:spAutoFit/>
          </a:bodyPr>
          <a:lstStyle/>
          <a:p>
            <a:pPr algn="l" defTabSz="1828754" hangingPunct="1">
              <a:defRPr/>
            </a:pPr>
            <a:r>
              <a:rPr lang="en-US" sz="2000" i="1" u="sng" kern="1200" dirty="0">
                <a:solidFill>
                  <a:srgbClr val="FFC000"/>
                </a:solidFill>
                <a:latin typeface="IBM Plex Sans" panose="020B0503050203000203" pitchFamily="34" charset="0"/>
              </a:rPr>
              <a:t>Gate: Success Review</a:t>
            </a:r>
          </a:p>
          <a:p>
            <a:pPr marL="342900" indent="-342900" algn="l" defTabSz="1828754" hangingPunct="1">
              <a:buFont typeface="Wingdings" pitchFamily="2" charset="2"/>
              <a:buChar char="v"/>
              <a:defRPr/>
            </a:pPr>
            <a:r>
              <a:rPr lang="en-US" sz="2000" b="1" i="1" kern="1200" dirty="0">
                <a:solidFill>
                  <a:srgbClr val="FFC000"/>
                </a:solidFill>
                <a:latin typeface="IBM Plex Sans" panose="020B0503050203000203" pitchFamily="34" charset="0"/>
              </a:rPr>
              <a:t>Success Measurement </a:t>
            </a:r>
          </a:p>
          <a:p>
            <a:pPr marL="342900" indent="-342900" algn="l" defTabSz="1828754" hangingPunct="1">
              <a:buFont typeface="Wingdings" pitchFamily="2" charset="2"/>
              <a:buChar char="v"/>
              <a:defRPr/>
            </a:pPr>
            <a:r>
              <a:rPr lang="en-US" sz="2000" b="1" i="1" kern="1200" dirty="0">
                <a:solidFill>
                  <a:srgbClr val="FFC000"/>
                </a:solidFill>
                <a:latin typeface="IBM Plex Sans" panose="020B0503050203000203" pitchFamily="34" charset="0"/>
              </a:rPr>
              <a:t>Improvement opportunities</a:t>
            </a:r>
            <a:endParaRPr lang="en-US" sz="2000" i="1" kern="1200" dirty="0">
              <a:solidFill>
                <a:srgbClr val="FFC000"/>
              </a:solidFill>
              <a:latin typeface="IBM Plex Sans Light" panose="020B0403050203000203" pitchFamily="34" charset="0"/>
            </a:endParaRPr>
          </a:p>
        </p:txBody>
      </p:sp>
      <p:sp>
        <p:nvSpPr>
          <p:cNvPr id="61" name="5-point Star 60">
            <a:extLst>
              <a:ext uri="{FF2B5EF4-FFF2-40B4-BE49-F238E27FC236}">
                <a16:creationId xmlns:a16="http://schemas.microsoft.com/office/drawing/2014/main" id="{068A83F9-9332-BAAA-7670-09816D513775}"/>
              </a:ext>
            </a:extLst>
          </p:cNvPr>
          <p:cNvSpPr/>
          <p:nvPr/>
        </p:nvSpPr>
        <p:spPr>
          <a:xfrm>
            <a:off x="12450371" y="8752063"/>
            <a:ext cx="912402" cy="787460"/>
          </a:xfrm>
          <a:prstGeom prst="star5">
            <a:avLst>
              <a:gd name="adj" fmla="val 15764"/>
              <a:gd name="hf" fmla="val 105146"/>
              <a:gd name="vf" fmla="val 110557"/>
            </a:avLst>
          </a:prstGeom>
          <a:solidFill>
            <a:srgbClr val="FFC0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endParaRPr lang="en-US" sz="3800" kern="1200" dirty="0">
              <a:solidFill>
                <a:prstClr val="white"/>
              </a:solidFill>
              <a:latin typeface="Calibri"/>
            </a:endParaRPr>
          </a:p>
        </p:txBody>
      </p:sp>
      <p:pic>
        <p:nvPicPr>
          <p:cNvPr id="71" name="Picture 70">
            <a:extLst>
              <a:ext uri="{FF2B5EF4-FFF2-40B4-BE49-F238E27FC236}">
                <a16:creationId xmlns:a16="http://schemas.microsoft.com/office/drawing/2014/main" id="{910AE6BF-1980-B42E-0C2A-663CCEA299E4}"/>
              </a:ext>
            </a:extLst>
          </p:cNvPr>
          <p:cNvPicPr>
            <a:picLocks noChangeAspect="1"/>
          </p:cNvPicPr>
          <p:nvPr/>
        </p:nvPicPr>
        <p:blipFill>
          <a:blip r:embed="rId3"/>
          <a:stretch>
            <a:fillRect/>
          </a:stretch>
        </p:blipFill>
        <p:spPr>
          <a:xfrm>
            <a:off x="19211457" y="164108"/>
            <a:ext cx="1460259" cy="1096701"/>
          </a:xfrm>
          <a:prstGeom prst="rect">
            <a:avLst/>
          </a:prstGeom>
        </p:spPr>
      </p:pic>
      <p:sp>
        <p:nvSpPr>
          <p:cNvPr id="63" name="Process 62">
            <a:extLst>
              <a:ext uri="{FF2B5EF4-FFF2-40B4-BE49-F238E27FC236}">
                <a16:creationId xmlns:a16="http://schemas.microsoft.com/office/drawing/2014/main" id="{8F15662E-4FE8-DBE6-2BD7-D359EB1D50D9}"/>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2813385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Our Next Steps | Actions by CSM </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11</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9" name="TextBox 8">
            <a:extLst>
              <a:ext uri="{FF2B5EF4-FFF2-40B4-BE49-F238E27FC236}">
                <a16:creationId xmlns:a16="http://schemas.microsoft.com/office/drawing/2014/main" id="{E70A48B0-A9BD-5F2A-B257-B1671DFD0749}"/>
              </a:ext>
            </a:extLst>
          </p:cNvPr>
          <p:cNvSpPr txBox="1"/>
          <p:nvPr/>
        </p:nvSpPr>
        <p:spPr>
          <a:xfrm>
            <a:off x="689686" y="2618912"/>
            <a:ext cx="23084537" cy="6011902"/>
          </a:xfrm>
          <a:prstGeom prst="rect">
            <a:avLst/>
          </a:prstGeom>
          <a:noFill/>
          <a:ln w="127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857250" marR="0" lvl="0" indent="-857250" algn="l" defTabSz="2438338" rtl="0" eaLnBrk="1" fontAlgn="auto" latinLnBrk="0" hangingPunct="0">
              <a:lnSpc>
                <a:spcPct val="100000"/>
              </a:lnSpc>
              <a:spcBef>
                <a:spcPts val="0"/>
              </a:spcBef>
              <a:spcAft>
                <a:spcPts val="0"/>
              </a:spcAft>
              <a:buClrTx/>
              <a:buSzTx/>
              <a:buFont typeface="Wingdings" pitchFamily="2" charset="2"/>
              <a:buChar char="q"/>
              <a:tabLst/>
              <a:defRPr/>
            </a:pPr>
            <a:r>
              <a:rPr lang="en-US" sz="4800" dirty="0">
                <a:solidFill>
                  <a:srgbClr val="5E5E5E">
                    <a:lumMod val="75000"/>
                  </a:srgbClr>
                </a:solidFill>
                <a:latin typeface="IBM Plex Sans" panose="020B0503050203000203" pitchFamily="34" charset="0"/>
                <a:ea typeface="Helvetica Neue"/>
                <a:cs typeface="Helvetica Neue"/>
              </a:rPr>
              <a:t>Consolidate </a:t>
            </a:r>
            <a:r>
              <a:rPr kumimoji="0" lang="en-US" sz="4800" b="1"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High-Level Engagement Plan </a:t>
            </a:r>
            <a:r>
              <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based on the outcome of this session and share with stakeholders </a:t>
            </a:r>
          </a:p>
          <a:p>
            <a:pPr marL="857250" marR="0" lvl="0" indent="-857250" algn="l" defTabSz="2438338" rtl="0" eaLnBrk="1" fontAlgn="auto" latinLnBrk="0" hangingPunct="0">
              <a:lnSpc>
                <a:spcPct val="100000"/>
              </a:lnSpc>
              <a:spcBef>
                <a:spcPts val="0"/>
              </a:spcBef>
              <a:spcAft>
                <a:spcPts val="0"/>
              </a:spcAft>
              <a:buClrTx/>
              <a:buSzTx/>
              <a:buFont typeface="Wingdings" pitchFamily="2" charset="2"/>
              <a:buChar char="q"/>
              <a:tabLst/>
              <a:defRPr/>
            </a:pPr>
            <a:r>
              <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Identify/ consolidate </a:t>
            </a:r>
            <a:r>
              <a:rPr lang="en-US" sz="4800" dirty="0">
                <a:solidFill>
                  <a:srgbClr val="5E5E5E">
                    <a:lumMod val="75000"/>
                  </a:srgbClr>
                </a:solidFill>
                <a:latin typeface="IBM Plex Sans" panose="020B0503050203000203" pitchFamily="34" charset="0"/>
                <a:ea typeface="Helvetica Neue"/>
                <a:cs typeface="Helvetica Neue"/>
              </a:rPr>
              <a:t>and validate </a:t>
            </a:r>
            <a:r>
              <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use cases for initiatives in focus according to agreed priorities</a:t>
            </a:r>
          </a:p>
          <a:p>
            <a:pPr marL="857250" marR="0" lvl="0" indent="-857250" algn="l" defTabSz="2438338" rtl="0" eaLnBrk="1" fontAlgn="auto" latinLnBrk="0" hangingPunct="0">
              <a:lnSpc>
                <a:spcPct val="100000"/>
              </a:lnSpc>
              <a:spcBef>
                <a:spcPts val="0"/>
              </a:spcBef>
              <a:spcAft>
                <a:spcPts val="0"/>
              </a:spcAft>
              <a:buClrTx/>
              <a:buSzTx/>
              <a:buFont typeface="Wingdings" pitchFamily="2" charset="2"/>
              <a:buChar char="q"/>
              <a:tabLst/>
              <a:defRPr/>
            </a:pPr>
            <a:r>
              <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CSM </a:t>
            </a:r>
            <a:r>
              <a:rPr lang="en-US" sz="4800" dirty="0">
                <a:solidFill>
                  <a:srgbClr val="5E5E5E">
                    <a:lumMod val="75000"/>
                  </a:srgbClr>
                </a:solidFill>
                <a:latin typeface="IBM Plex Sans" panose="020B0503050203000203" pitchFamily="34" charset="0"/>
                <a:ea typeface="Helvetica Neue"/>
                <a:cs typeface="Helvetica Neue"/>
              </a:rPr>
              <a:t>o</a:t>
            </a:r>
            <a:r>
              <a:rPr kumimoji="0" lang="en-US" sz="4800" i="0" u="none" strike="noStrike" kern="0" cap="none" spc="0" normalizeH="0" baseline="0" noProof="0" dirty="0" err="1">
                <a:ln>
                  <a:noFill/>
                </a:ln>
                <a:solidFill>
                  <a:srgbClr val="5E5E5E">
                    <a:lumMod val="75000"/>
                  </a:srgbClr>
                </a:solidFill>
                <a:effectLst/>
                <a:uLnTx/>
                <a:uFillTx/>
                <a:latin typeface="IBM Plex Sans" panose="020B0503050203000203" pitchFamily="34" charset="0"/>
                <a:ea typeface="Helvetica Neue"/>
                <a:cs typeface="Helvetica Neue"/>
                <a:sym typeface="Helvetica Neue"/>
              </a:rPr>
              <a:t>nboarding</a:t>
            </a:r>
            <a:r>
              <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 and </a:t>
            </a:r>
            <a:r>
              <a:rPr lang="en-US" sz="4800" dirty="0">
                <a:solidFill>
                  <a:srgbClr val="5E5E5E">
                    <a:lumMod val="75000"/>
                  </a:srgbClr>
                </a:solidFill>
                <a:latin typeface="IBM Plex Sans" panose="020B0503050203000203" pitchFamily="34" charset="0"/>
                <a:ea typeface="Helvetica Neue"/>
                <a:cs typeface="Helvetica Neue"/>
              </a:rPr>
              <a:t>commitment to customer’s  deployment success | active </a:t>
            </a:r>
            <a:r>
              <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participation in governance and projects meeting</a:t>
            </a:r>
          </a:p>
          <a:p>
            <a:pPr marL="857250" marR="0" lvl="0" indent="-857250" algn="l" defTabSz="2438338" rtl="0" eaLnBrk="1" fontAlgn="auto" latinLnBrk="0" hangingPunct="0">
              <a:lnSpc>
                <a:spcPct val="100000"/>
              </a:lnSpc>
              <a:spcBef>
                <a:spcPts val="0"/>
              </a:spcBef>
              <a:spcAft>
                <a:spcPts val="0"/>
              </a:spcAft>
              <a:buClrTx/>
              <a:buSzTx/>
              <a:buFont typeface="Wingdings" pitchFamily="2" charset="2"/>
              <a:buChar char="q"/>
              <a:tabLst/>
              <a:defRPr/>
            </a:pPr>
            <a:r>
              <a:rPr lang="en-US" sz="4800" dirty="0">
                <a:solidFill>
                  <a:srgbClr val="5E5E5E">
                    <a:lumMod val="75000"/>
                  </a:srgbClr>
                </a:solidFill>
                <a:latin typeface="IBM Plex Sans" panose="020B0503050203000203" pitchFamily="34" charset="0"/>
                <a:ea typeface="Helvetica Neue"/>
                <a:cs typeface="Helvetica Neue"/>
              </a:rPr>
              <a:t>Include and follow-up on any other points agreed during </a:t>
            </a:r>
            <a:r>
              <a:rPr lang="en-US" sz="4800" i="1" dirty="0">
                <a:solidFill>
                  <a:srgbClr val="5E5E5E">
                    <a:lumMod val="75000"/>
                  </a:srgbClr>
                </a:solidFill>
                <a:latin typeface="IBM Plex Sans" panose="020B0503050203000203" pitchFamily="34" charset="0"/>
                <a:ea typeface="Helvetica Neue"/>
                <a:cs typeface="Helvetica Neue"/>
              </a:rPr>
              <a:t>Scoping Session</a:t>
            </a:r>
            <a:endParaRPr kumimoji="0" lang="en-US" sz="4800" i="1"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endParaRPr>
          </a:p>
          <a:p>
            <a:pPr marR="0" lvl="0" algn="l" defTabSz="2438338" rtl="0" eaLnBrk="1" fontAlgn="auto" latinLnBrk="0" hangingPunct="0">
              <a:lnSpc>
                <a:spcPct val="100000"/>
              </a:lnSpc>
              <a:spcBef>
                <a:spcPts val="0"/>
              </a:spcBef>
              <a:spcAft>
                <a:spcPts val="0"/>
              </a:spcAft>
              <a:buClrTx/>
              <a:buSzTx/>
              <a:tabLst/>
              <a:defRPr/>
            </a:pPr>
            <a:endPar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endParaRPr>
          </a:p>
        </p:txBody>
      </p:sp>
      <p:pic>
        <p:nvPicPr>
          <p:cNvPr id="3" name="Picture 2">
            <a:extLst>
              <a:ext uri="{FF2B5EF4-FFF2-40B4-BE49-F238E27FC236}">
                <a16:creationId xmlns:a16="http://schemas.microsoft.com/office/drawing/2014/main" id="{2FA158CE-14A2-845D-BECF-7763CACD3C86}"/>
              </a:ext>
            </a:extLst>
          </p:cNvPr>
          <p:cNvPicPr>
            <a:picLocks noChangeAspect="1"/>
          </p:cNvPicPr>
          <p:nvPr/>
        </p:nvPicPr>
        <p:blipFill>
          <a:blip r:embed="rId3"/>
          <a:stretch>
            <a:fillRect/>
          </a:stretch>
        </p:blipFill>
        <p:spPr>
          <a:xfrm>
            <a:off x="22116799" y="7103821"/>
            <a:ext cx="1657424" cy="1576658"/>
          </a:xfrm>
          <a:prstGeom prst="rect">
            <a:avLst/>
          </a:prstGeom>
        </p:spPr>
      </p:pic>
      <p:pic>
        <p:nvPicPr>
          <p:cNvPr id="11" name="Picture 10">
            <a:extLst>
              <a:ext uri="{FF2B5EF4-FFF2-40B4-BE49-F238E27FC236}">
                <a16:creationId xmlns:a16="http://schemas.microsoft.com/office/drawing/2014/main" id="{A3100949-296B-4266-EA75-8F1637D34590}"/>
              </a:ext>
            </a:extLst>
          </p:cNvPr>
          <p:cNvPicPr>
            <a:picLocks noChangeAspect="1"/>
          </p:cNvPicPr>
          <p:nvPr/>
        </p:nvPicPr>
        <p:blipFill>
          <a:blip r:embed="rId4"/>
          <a:stretch>
            <a:fillRect/>
          </a:stretch>
        </p:blipFill>
        <p:spPr>
          <a:xfrm>
            <a:off x="19211457" y="164108"/>
            <a:ext cx="1460259" cy="1096701"/>
          </a:xfrm>
          <a:prstGeom prst="rect">
            <a:avLst/>
          </a:prstGeom>
        </p:spPr>
      </p:pic>
      <p:sp>
        <p:nvSpPr>
          <p:cNvPr id="12" name="Process 11">
            <a:extLst>
              <a:ext uri="{FF2B5EF4-FFF2-40B4-BE49-F238E27FC236}">
                <a16:creationId xmlns:a16="http://schemas.microsoft.com/office/drawing/2014/main" id="{D3469551-C9BF-6E91-4F35-CF50478C959B}"/>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2795388226"/>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50" name="Group 1"/>
          <p:cNvGrpSpPr/>
          <p:nvPr/>
        </p:nvGrpSpPr>
        <p:grpSpPr>
          <a:xfrm>
            <a:off x="-292614" y="-292947"/>
            <a:ext cx="24971255" cy="14305281"/>
            <a:chOff x="0" y="0"/>
            <a:chExt cx="24971254" cy="14305280"/>
          </a:xfrm>
        </p:grpSpPr>
        <p:grpSp>
          <p:nvGrpSpPr>
            <p:cNvPr id="1017" name="Group 59"/>
            <p:cNvGrpSpPr/>
            <p:nvPr/>
          </p:nvGrpSpPr>
          <p:grpSpPr>
            <a:xfrm>
              <a:off x="903906" y="-1"/>
              <a:ext cx="23164620" cy="243842"/>
              <a:chOff x="0" y="0"/>
              <a:chExt cx="23164618" cy="243840"/>
            </a:xfrm>
          </p:grpSpPr>
          <p:sp>
            <p:nvSpPr>
              <p:cNvPr id="1006"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07"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08"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09"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0"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1"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2"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3"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4"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5"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6"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029" name="Group 60"/>
            <p:cNvGrpSpPr/>
            <p:nvPr/>
          </p:nvGrpSpPr>
          <p:grpSpPr>
            <a:xfrm>
              <a:off x="903906" y="14061440"/>
              <a:ext cx="23164620" cy="243841"/>
              <a:chOff x="0" y="0"/>
              <a:chExt cx="23164618" cy="243840"/>
            </a:xfrm>
          </p:grpSpPr>
          <p:sp>
            <p:nvSpPr>
              <p:cNvPr id="1018"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9"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0"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1"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2"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3"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4"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5"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6"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7"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8"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039" name="Group 61"/>
            <p:cNvGrpSpPr/>
            <p:nvPr/>
          </p:nvGrpSpPr>
          <p:grpSpPr>
            <a:xfrm>
              <a:off x="-1" y="926930"/>
              <a:ext cx="243842" cy="12438551"/>
              <a:chOff x="0" y="0"/>
              <a:chExt cx="243840" cy="12438549"/>
            </a:xfrm>
          </p:grpSpPr>
          <p:sp>
            <p:nvSpPr>
              <p:cNvPr id="1030"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1"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2"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3"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4"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5"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6"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7"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8"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049" name="Group 62"/>
            <p:cNvGrpSpPr/>
            <p:nvPr/>
          </p:nvGrpSpPr>
          <p:grpSpPr>
            <a:xfrm>
              <a:off x="24727414" y="926930"/>
              <a:ext cx="243841" cy="12435842"/>
              <a:chOff x="0" y="0"/>
              <a:chExt cx="243840" cy="12435840"/>
            </a:xfrm>
          </p:grpSpPr>
          <p:sp>
            <p:nvSpPr>
              <p:cNvPr id="1040"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1"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2"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3"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4"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5"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6"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7"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8"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1091" name="Group"/>
          <p:cNvGrpSpPr/>
          <p:nvPr/>
        </p:nvGrpSpPr>
        <p:grpSpPr>
          <a:xfrm>
            <a:off x="-292614" y="-292947"/>
            <a:ext cx="24971255" cy="14305281"/>
            <a:chOff x="0" y="0"/>
            <a:chExt cx="24971254" cy="14305280"/>
          </a:xfrm>
        </p:grpSpPr>
        <p:sp>
          <p:nvSpPr>
            <p:cNvPr id="1051"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2"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3"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4"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5"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6"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7"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8"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9"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0"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1"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2"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3"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4"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5"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6"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7"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8"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9"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0"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1"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2"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3"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4"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5"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6"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7"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8"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9"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0"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1"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2"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3"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4"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5"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6"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7"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8"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9"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90"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grpSp>
      <p:sp>
        <p:nvSpPr>
          <p:cNvPr id="2" name="Rectangle 1">
            <a:extLst>
              <a:ext uri="{FF2B5EF4-FFF2-40B4-BE49-F238E27FC236}">
                <a16:creationId xmlns:a16="http://schemas.microsoft.com/office/drawing/2014/main" id="{098B6D27-8533-1B4B-B766-AD346256459D}"/>
              </a:ext>
            </a:extLst>
          </p:cNvPr>
          <p:cNvSpPr/>
          <p:nvPr/>
        </p:nvSpPr>
        <p:spPr>
          <a:xfrm>
            <a:off x="7665849" y="18146822"/>
            <a:ext cx="12192000" cy="830997"/>
          </a:xfrm>
          <a:prstGeom prst="rect">
            <a:avLst/>
          </a:prstGeom>
        </p:spPr>
        <p:txBody>
          <a:bodyPr>
            <a:sp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br>
              <a:rPr kumimoji="0" lang="en-AU" sz="24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br>
            <a:endParaRPr kumimoji="0" lang="en-US" sz="24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endParaRPr>
          </a:p>
        </p:txBody>
      </p:sp>
      <p:pic>
        <p:nvPicPr>
          <p:cNvPr id="7" name="Picture 6">
            <a:extLst>
              <a:ext uri="{FF2B5EF4-FFF2-40B4-BE49-F238E27FC236}">
                <a16:creationId xmlns:a16="http://schemas.microsoft.com/office/drawing/2014/main" id="{1EF73793-FFBF-989C-14DC-A9EA286E46EF}"/>
              </a:ext>
            </a:extLst>
          </p:cNvPr>
          <p:cNvPicPr>
            <a:picLocks noChangeAspect="1"/>
          </p:cNvPicPr>
          <p:nvPr/>
        </p:nvPicPr>
        <p:blipFill>
          <a:blip r:embed="rId2"/>
          <a:stretch>
            <a:fillRect/>
          </a:stretch>
        </p:blipFill>
        <p:spPr>
          <a:xfrm>
            <a:off x="20759411" y="11984737"/>
            <a:ext cx="3601591" cy="1556043"/>
          </a:xfrm>
          <a:prstGeom prst="rect">
            <a:avLst/>
          </a:prstGeom>
        </p:spPr>
      </p:pic>
      <p:sp>
        <p:nvSpPr>
          <p:cNvPr id="4" name="TextBox 3">
            <a:extLst>
              <a:ext uri="{FF2B5EF4-FFF2-40B4-BE49-F238E27FC236}">
                <a16:creationId xmlns:a16="http://schemas.microsoft.com/office/drawing/2014/main" id="{2112303D-12BB-85CD-9BF1-F745C3D76B78}"/>
              </a:ext>
            </a:extLst>
          </p:cNvPr>
          <p:cNvSpPr txBox="1"/>
          <p:nvPr/>
        </p:nvSpPr>
        <p:spPr>
          <a:xfrm>
            <a:off x="12947426" y="1062806"/>
            <a:ext cx="10313784" cy="16414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US" sz="10000" b="0" i="0" u="none" strike="noStrike" kern="0" cap="none" spc="0" normalizeH="0" baseline="0" noProof="0" dirty="0">
                <a:ln>
                  <a:noFill/>
                </a:ln>
                <a:solidFill>
                  <a:srgbClr val="5E5E5E">
                    <a:lumMod val="75000"/>
                  </a:srgbClr>
                </a:solidFill>
                <a:effectLst/>
                <a:uLnTx/>
                <a:uFillTx/>
                <a:latin typeface="STXingkai" panose="02010800040101010101" pitchFamily="2" charset="-122"/>
                <a:ea typeface="STXingkai" panose="02010800040101010101" pitchFamily="2" charset="-122"/>
                <a:cs typeface="Kunstler Script" panose="020F0502020204030204" pitchFamily="34" charset="0"/>
                <a:sym typeface="Helvetica Neue"/>
              </a:rPr>
              <a:t>Thank You! </a:t>
            </a:r>
          </a:p>
        </p:txBody>
      </p:sp>
      <p:grpSp>
        <p:nvGrpSpPr>
          <p:cNvPr id="98" name="Group 97">
            <a:extLst>
              <a:ext uri="{FF2B5EF4-FFF2-40B4-BE49-F238E27FC236}">
                <a16:creationId xmlns:a16="http://schemas.microsoft.com/office/drawing/2014/main" id="{32117341-5BFB-0078-5872-2CEEB3FB1219}"/>
              </a:ext>
            </a:extLst>
          </p:cNvPr>
          <p:cNvGrpSpPr/>
          <p:nvPr/>
        </p:nvGrpSpPr>
        <p:grpSpPr>
          <a:xfrm>
            <a:off x="13446074" y="3063981"/>
            <a:ext cx="9316487" cy="7094485"/>
            <a:chOff x="10726519" y="3057290"/>
            <a:chExt cx="9316487" cy="7094485"/>
          </a:xfrm>
        </p:grpSpPr>
        <p:sp>
          <p:nvSpPr>
            <p:cNvPr id="99" name="Rounded Rectangle 98">
              <a:extLst>
                <a:ext uri="{FF2B5EF4-FFF2-40B4-BE49-F238E27FC236}">
                  <a16:creationId xmlns:a16="http://schemas.microsoft.com/office/drawing/2014/main" id="{B03F4405-DCE7-EFE2-FAD6-337ABD577DDD}"/>
                </a:ext>
              </a:extLst>
            </p:cNvPr>
            <p:cNvSpPr/>
            <p:nvPr/>
          </p:nvSpPr>
          <p:spPr>
            <a:xfrm>
              <a:off x="10726519" y="3057290"/>
              <a:ext cx="9316487" cy="3997588"/>
            </a:xfrm>
            <a:prstGeom prst="roundRect">
              <a:avLst/>
            </a:prstGeom>
            <a:solidFill>
              <a:schemeClr val="bg1"/>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03" name="TextBox 102">
              <a:extLst>
                <a:ext uri="{FF2B5EF4-FFF2-40B4-BE49-F238E27FC236}">
                  <a16:creationId xmlns:a16="http://schemas.microsoft.com/office/drawing/2014/main" id="{51DA6D92-BE44-4F83-72E5-57255A341A11}"/>
                </a:ext>
              </a:extLst>
            </p:cNvPr>
            <p:cNvSpPr txBox="1"/>
            <p:nvPr/>
          </p:nvSpPr>
          <p:spPr>
            <a:xfrm>
              <a:off x="11091895" y="4420325"/>
              <a:ext cx="4562146" cy="238013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5E5E5E">
                      <a:lumMod val="50000"/>
                    </a:srgbClr>
                  </a:solidFill>
                  <a:effectLst/>
                  <a:uLnTx/>
                  <a:uFillTx/>
                  <a:latin typeface="IBM Plex Sans" panose="020B0503050203000203" pitchFamily="34" charset="0"/>
                  <a:ea typeface="Helvetica Neue"/>
                  <a:cs typeface="IBM Plex Arabic" panose="020B0503050203000203" pitchFamily="34" charset="-78"/>
                  <a:sym typeface="Helvetica Neue"/>
                </a:rPr>
                <a:t>Name Surname </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5E5E5E">
                      <a:lumMod val="50000"/>
                    </a:srgbClr>
                  </a:solidFill>
                  <a:effectLst/>
                  <a:uLnTx/>
                  <a:uFillTx/>
                  <a:latin typeface="IBM Plex Sans" panose="020B0503050203000203" pitchFamily="34" charset="0"/>
                  <a:ea typeface="Helvetica Neue"/>
                  <a:cs typeface="IBM Plex Arabic" panose="020B0503050203000203" pitchFamily="34" charset="-78"/>
                  <a:sym typeface="Helvetica Neue"/>
                </a:rPr>
                <a:t>Customer Success Manager</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AU" sz="2400" b="0" i="0" u="none" strike="noStrike" kern="0" cap="none" spc="0" normalizeH="0" baseline="0" noProof="0" dirty="0">
                  <a:ln>
                    <a:noFill/>
                  </a:ln>
                  <a:solidFill>
                    <a:srgbClr val="5E5E5E">
                      <a:lumMod val="50000"/>
                    </a:srgbClr>
                  </a:solidFill>
                  <a:effectLst/>
                  <a:uLnTx/>
                  <a:uFillTx/>
                  <a:latin typeface="Helvetica Neue"/>
                  <a:ea typeface="Helvetica Neue"/>
                  <a:cs typeface="Helvetica Neue"/>
                  <a:sym typeface="Helvetica Neue"/>
                  <a:hlinkClick r:id="rId3">
                    <a:extLst>
                      <a:ext uri="{A12FA001-AC4F-418D-AE19-62706E023703}">
                        <ahyp:hlinkClr xmlns:ahyp="http://schemas.microsoft.com/office/drawing/2018/hyperlinkcolor" val="tx"/>
                      </a:ext>
                    </a:extLst>
                  </a:hlinkClick>
                </a:rPr>
                <a:t>E-mail:</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AU" sz="2400" b="0" i="0" u="none" strike="noStrike" kern="0" cap="none" spc="0" normalizeH="0" baseline="0" noProof="0" dirty="0">
                  <a:ln>
                    <a:noFill/>
                  </a:ln>
                  <a:solidFill>
                    <a:srgbClr val="5E5E5E">
                      <a:lumMod val="50000"/>
                    </a:srgbClr>
                  </a:solidFill>
                  <a:effectLst/>
                  <a:uLnTx/>
                  <a:uFillTx/>
                  <a:latin typeface="Helvetica Neue"/>
                  <a:ea typeface="Helvetica Neue"/>
                  <a:cs typeface="Helvetica Neue"/>
                  <a:sym typeface="Helvetica Neue"/>
                  <a:hlinkClick r:id="rId3">
                    <a:extLst>
                      <a:ext uri="{A12FA001-AC4F-418D-AE19-62706E023703}">
                        <ahyp:hlinkClr xmlns:ahyp="http://schemas.microsoft.com/office/drawing/2018/hyperlinkcolor" val="tx"/>
                      </a:ext>
                    </a:extLst>
                  </a:hlinkClick>
                </a:rPr>
                <a:t>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AU" sz="2400" b="1" i="0" u="none" strike="noStrike" kern="0" cap="none" spc="0" normalizeH="0" baseline="0" noProof="0" dirty="0">
                  <a:ln>
                    <a:noFill/>
                  </a:ln>
                  <a:solidFill>
                    <a:srgbClr val="5E5E5E">
                      <a:lumMod val="50000"/>
                    </a:srgbClr>
                  </a:solidFill>
                  <a:effectLst/>
                  <a:uLnTx/>
                  <a:uFillTx/>
                  <a:latin typeface="Helvetica Neue"/>
                  <a:ea typeface="Helvetica Neue"/>
                  <a:cs typeface="Helvetica Neue"/>
                  <a:sym typeface="Helvetica Neue"/>
                  <a:hlinkClick r:id="rId3">
                    <a:extLst>
                      <a:ext uri="{A12FA001-AC4F-418D-AE19-62706E023703}">
                        <ahyp:hlinkClr xmlns:ahyp="http://schemas.microsoft.com/office/drawing/2018/hyperlinkcolor" val="tx"/>
                      </a:ext>
                    </a:extLst>
                  </a:hlinkClick>
                </a:rPr>
                <a:t>LinkedIn Profile </a:t>
              </a:r>
              <a:endParaRPr kumimoji="0" lang="en-AU" sz="2400" b="1" i="0" u="none" strike="noStrike" kern="0" cap="none" spc="0" normalizeH="0" baseline="0" noProof="0" dirty="0">
                <a:ln>
                  <a:noFill/>
                </a:ln>
                <a:solidFill>
                  <a:srgbClr val="5E5E5E">
                    <a:lumMod val="50000"/>
                  </a:srgbClr>
                </a:solidFill>
                <a:effectLst/>
                <a:uLnTx/>
                <a:uFillTx/>
                <a:latin typeface="Helvetica Neue"/>
                <a:ea typeface="Helvetica Neue"/>
                <a:cs typeface="Helvetica Neue"/>
                <a:sym typeface="Helvetica Neue"/>
              </a:endParaRPr>
            </a:p>
          </p:txBody>
        </p:sp>
        <p:sp>
          <p:nvSpPr>
            <p:cNvPr id="104" name="Star">
              <a:extLst>
                <a:ext uri="{FF2B5EF4-FFF2-40B4-BE49-F238E27FC236}">
                  <a16:creationId xmlns:a16="http://schemas.microsoft.com/office/drawing/2014/main" id="{AE3F775A-1E77-9F87-BFCD-50867BD93E36}"/>
                </a:ext>
              </a:extLst>
            </p:cNvPr>
            <p:cNvSpPr/>
            <p:nvPr/>
          </p:nvSpPr>
          <p:spPr>
            <a:xfrm>
              <a:off x="10799136" y="7347723"/>
              <a:ext cx="3264611" cy="280405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8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Add your details</a:t>
              </a:r>
              <a:endParaRPr kumimoji="0" sz="28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pic>
          <p:nvPicPr>
            <p:cNvPr id="105" name="Picture 104">
              <a:extLst>
                <a:ext uri="{FF2B5EF4-FFF2-40B4-BE49-F238E27FC236}">
                  <a16:creationId xmlns:a16="http://schemas.microsoft.com/office/drawing/2014/main" id="{0AC17A7A-936A-FEB4-E788-FD2979EEBE22}"/>
                </a:ext>
              </a:extLst>
            </p:cNvPr>
            <p:cNvPicPr>
              <a:picLocks noChangeAspect="1"/>
            </p:cNvPicPr>
            <p:nvPr/>
          </p:nvPicPr>
          <p:blipFill>
            <a:blip r:embed="rId4"/>
            <a:stretch>
              <a:fillRect/>
            </a:stretch>
          </p:blipFill>
          <p:spPr>
            <a:xfrm>
              <a:off x="11062136" y="3115046"/>
              <a:ext cx="5029200" cy="1500217"/>
            </a:xfrm>
            <a:prstGeom prst="rect">
              <a:avLst/>
            </a:prstGeom>
          </p:spPr>
        </p:pic>
        <p:pic>
          <p:nvPicPr>
            <p:cNvPr id="106" name="Picture 105">
              <a:extLst>
                <a:ext uri="{FF2B5EF4-FFF2-40B4-BE49-F238E27FC236}">
                  <a16:creationId xmlns:a16="http://schemas.microsoft.com/office/drawing/2014/main" id="{4B3D9992-B86C-2CCF-FB81-19AEB6F8DCFC}"/>
                </a:ext>
              </a:extLst>
            </p:cNvPr>
            <p:cNvPicPr>
              <a:picLocks noChangeAspect="1"/>
            </p:cNvPicPr>
            <p:nvPr/>
          </p:nvPicPr>
          <p:blipFill>
            <a:blip r:embed="rId2"/>
            <a:stretch>
              <a:fillRect/>
            </a:stretch>
          </p:blipFill>
          <p:spPr>
            <a:xfrm>
              <a:off x="18623140" y="3275719"/>
              <a:ext cx="1062793" cy="764900"/>
            </a:xfrm>
            <a:prstGeom prst="rect">
              <a:avLst/>
            </a:prstGeom>
          </p:spPr>
        </p:pic>
      </p:grpSp>
      <p:pic>
        <p:nvPicPr>
          <p:cNvPr id="107" name="Picture 106" descr="A group of people sitting at a table&#10;&#10;Description automatically generated">
            <a:extLst>
              <a:ext uri="{FF2B5EF4-FFF2-40B4-BE49-F238E27FC236}">
                <a16:creationId xmlns:a16="http://schemas.microsoft.com/office/drawing/2014/main" id="{D924E1B2-B0E4-16C1-D329-89408818E6F7}"/>
              </a:ext>
            </a:extLst>
          </p:cNvPr>
          <p:cNvPicPr>
            <a:picLocks noChangeAspect="1"/>
          </p:cNvPicPr>
          <p:nvPr/>
        </p:nvPicPr>
        <p:blipFill rotWithShape="1">
          <a:blip r:embed="rId5"/>
          <a:srcRect l="45924"/>
          <a:stretch/>
        </p:blipFill>
        <p:spPr>
          <a:xfrm>
            <a:off x="904362" y="633981"/>
            <a:ext cx="11287631" cy="12435841"/>
          </a:xfrm>
          <a:prstGeom prst="rect">
            <a:avLst/>
          </a:prstGeom>
        </p:spPr>
      </p:pic>
      <p:pic>
        <p:nvPicPr>
          <p:cNvPr id="108" name="Picture 107">
            <a:extLst>
              <a:ext uri="{FF2B5EF4-FFF2-40B4-BE49-F238E27FC236}">
                <a16:creationId xmlns:a16="http://schemas.microsoft.com/office/drawing/2014/main" id="{D8E5D0D3-B873-20DA-F5F5-8F6EC87E58B3}"/>
              </a:ext>
            </a:extLst>
          </p:cNvPr>
          <p:cNvPicPr>
            <a:picLocks noChangeAspect="1"/>
          </p:cNvPicPr>
          <p:nvPr/>
        </p:nvPicPr>
        <p:blipFill>
          <a:blip r:embed="rId6"/>
          <a:stretch>
            <a:fillRect/>
          </a:stretch>
        </p:blipFill>
        <p:spPr>
          <a:xfrm>
            <a:off x="21328750" y="6168582"/>
            <a:ext cx="1111348" cy="764900"/>
          </a:xfrm>
          <a:prstGeom prst="rect">
            <a:avLst/>
          </a:prstGeom>
          <a:effectLst>
            <a:softEdge rad="0"/>
          </a:effectLst>
        </p:spPr>
      </p:pic>
    </p:spTree>
    <p:extLst>
      <p:ext uri="{BB962C8B-B14F-4D97-AF65-F5344CB8AC3E}">
        <p14:creationId xmlns:p14="http://schemas.microsoft.com/office/powerpoint/2010/main" val="4058869129"/>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Your current IBM entitlements">
            <a:extLst>
              <a:ext uri="{FF2B5EF4-FFF2-40B4-BE49-F238E27FC236}">
                <a16:creationId xmlns:a16="http://schemas.microsoft.com/office/drawing/2014/main" id="{4F96F21A-FEDF-4F5F-BDBA-C61513936651}"/>
              </a:ext>
            </a:extLst>
          </p:cNvPr>
          <p:cNvSpPr txBox="1"/>
          <p:nvPr/>
        </p:nvSpPr>
        <p:spPr>
          <a:xfrm>
            <a:off x="574268" y="504025"/>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lang="en-AU" dirty="0"/>
              <a:t>Appendix </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13</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9" name="TextBox 8">
            <a:extLst>
              <a:ext uri="{FF2B5EF4-FFF2-40B4-BE49-F238E27FC236}">
                <a16:creationId xmlns:a16="http://schemas.microsoft.com/office/drawing/2014/main" id="{E70A48B0-A9BD-5F2A-B257-B1671DFD0749}"/>
              </a:ext>
            </a:extLst>
          </p:cNvPr>
          <p:cNvSpPr txBox="1"/>
          <p:nvPr/>
        </p:nvSpPr>
        <p:spPr>
          <a:xfrm>
            <a:off x="574268" y="2931993"/>
            <a:ext cx="23084537" cy="6319679"/>
          </a:xfrm>
          <a:prstGeom prst="rect">
            <a:avLst/>
          </a:prstGeom>
          <a:noFill/>
          <a:ln w="127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857250" indent="-857250" algn="l">
              <a:buFont typeface="Wingdings" pitchFamily="2" charset="2"/>
              <a:buChar char="ü"/>
            </a:pPr>
            <a:r>
              <a:rPr lang="en-US" sz="6000" dirty="0">
                <a:solidFill>
                  <a:schemeClr val="tx1">
                    <a:lumMod val="75000"/>
                  </a:schemeClr>
                </a:solidFill>
              </a:rPr>
              <a:t>CSM Use cases references/quotes &amp;  Customer Success Stories </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CSM onboarding  &amp; communication framework </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Entitlements</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Cases/Issues overview</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CSM Engagement Model   </a:t>
            </a:r>
          </a:p>
          <a:p>
            <a:pPr marR="0" algn="l" defTabSz="2438338" rtl="0" fontAlgn="auto" latinLnBrk="0" hangingPunct="0">
              <a:lnSpc>
                <a:spcPct val="100000"/>
              </a:lnSpc>
              <a:spcBef>
                <a:spcPts val="0"/>
              </a:spcBef>
              <a:spcAft>
                <a:spcPts val="0"/>
              </a:spcAft>
              <a:buClrTx/>
              <a:buSzTx/>
              <a:tabLst/>
            </a:pPr>
            <a:endParaRPr lang="en-US" sz="6000" dirty="0">
              <a:solidFill>
                <a:schemeClr val="tx1">
                  <a:lumMod val="75000"/>
                </a:schemeClr>
              </a:solidFill>
            </a:endParaRP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endParaRPr kumimoji="0" lang="en-US" sz="4400" b="0" i="1" u="none" strike="noStrike" cap="none" spc="0" normalizeH="0" baseline="0" dirty="0">
              <a:ln>
                <a:noFill/>
              </a:ln>
              <a:solidFill>
                <a:schemeClr val="bg1"/>
              </a:solidFill>
              <a:effectLst/>
              <a:uFillTx/>
              <a:latin typeface="+mn-lt"/>
              <a:ea typeface="+mn-ea"/>
              <a:cs typeface="+mn-cs"/>
              <a:sym typeface="Helvetica Neue"/>
            </a:endParaRPr>
          </a:p>
        </p:txBody>
      </p:sp>
    </p:spTree>
    <p:extLst>
      <p:ext uri="{BB962C8B-B14F-4D97-AF65-F5344CB8AC3E}">
        <p14:creationId xmlns:p14="http://schemas.microsoft.com/office/powerpoint/2010/main" val="1895306288"/>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1AD023D-0CAF-48FB-92D2-613B79F9FE1B}"/>
              </a:ext>
            </a:extLst>
          </p:cNvPr>
          <p:cNvSpPr/>
          <p:nvPr/>
        </p:nvSpPr>
        <p:spPr>
          <a:xfrm>
            <a:off x="24977546" y="106447"/>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1828800" hangingPunct="1">
              <a:defRPr/>
            </a:pPr>
            <a:r>
              <a:rPr lang="en-AU" sz="1600" i="1" kern="1200" dirty="0">
                <a:solidFill>
                  <a:srgbClr val="000000"/>
                </a:solidFill>
                <a:latin typeface="IBM Plex Sans" panose="020B0503050203000203" pitchFamily="34" charset="0"/>
                <a:cs typeface="Calibri"/>
              </a:rPr>
              <a:t>1 - No engagement</a:t>
            </a:r>
          </a:p>
          <a:p>
            <a:pPr algn="l" defTabSz="1828800" hangingPunct="1">
              <a:defRPr/>
            </a:pPr>
            <a:r>
              <a:rPr lang="en-AU" sz="1600" i="1" kern="1200" dirty="0">
                <a:solidFill>
                  <a:srgbClr val="000000"/>
                </a:solidFill>
                <a:latin typeface="IBM Plex Sans" panose="020B0503050203000203" pitchFamily="34" charset="0"/>
                <a:cs typeface="Calibri"/>
              </a:rPr>
              <a:t>2 - Internal engagement only</a:t>
            </a:r>
          </a:p>
          <a:p>
            <a:pPr algn="l" defTabSz="1828800" hangingPunct="1">
              <a:defRPr/>
            </a:pPr>
            <a:r>
              <a:rPr lang="en-AU" sz="1600" i="1" kern="1200" dirty="0">
                <a:solidFill>
                  <a:srgbClr val="000000"/>
                </a:solidFill>
                <a:latin typeface="IBM Plex Sans" panose="020B0503050203000203" pitchFamily="34" charset="0"/>
                <a:cs typeface="Calibri"/>
              </a:rPr>
              <a:t>3 - Client &amp; IBM engagement</a:t>
            </a:r>
          </a:p>
          <a:p>
            <a:pPr algn="l" defTabSz="1828800" hangingPunct="1">
              <a:defRPr/>
            </a:pPr>
            <a:r>
              <a:rPr lang="en-AU" sz="1600" i="1" kern="1200" dirty="0">
                <a:solidFill>
                  <a:srgbClr val="000000"/>
                </a:solidFill>
                <a:latin typeface="IBM Plex Sans" panose="020B0503050203000203" pitchFamily="34" charset="0"/>
                <a:cs typeface="Calibri"/>
              </a:rPr>
              <a:t>4 - Hold your own meeting w/ client</a:t>
            </a:r>
          </a:p>
          <a:p>
            <a:pPr algn="l" defTabSz="1828800" hangingPunct="1">
              <a:defRPr/>
            </a:pPr>
            <a:r>
              <a:rPr lang="en-AU" sz="1600" i="1" kern="1200" dirty="0">
                <a:solidFill>
                  <a:srgbClr val="000000"/>
                </a:solidFill>
                <a:latin typeface="IBM Plex Sans" panose="020B0503050203000203" pitchFamily="34" charset="0"/>
                <a:cs typeface="Calibri"/>
              </a:rPr>
              <a:t>5 - Trusted Advisor to Client</a:t>
            </a:r>
          </a:p>
        </p:txBody>
      </p:sp>
      <p:sp>
        <p:nvSpPr>
          <p:cNvPr id="7" name="Title 6">
            <a:extLst>
              <a:ext uri="{FF2B5EF4-FFF2-40B4-BE49-F238E27FC236}">
                <a16:creationId xmlns:a16="http://schemas.microsoft.com/office/drawing/2014/main" id="{13C2E987-FE45-454B-9A2C-FA65354A4D36}"/>
              </a:ext>
            </a:extLst>
          </p:cNvPr>
          <p:cNvSpPr>
            <a:spLocks noGrp="1"/>
          </p:cNvSpPr>
          <p:nvPr>
            <p:ph type="title"/>
          </p:nvPr>
        </p:nvSpPr>
        <p:spPr>
          <a:xfrm>
            <a:off x="153110" y="339423"/>
            <a:ext cx="21728516" cy="1093710"/>
          </a:xfrm>
        </p:spPr>
        <p:txBody>
          <a:bodyPr/>
          <a:lstStyle/>
          <a:p>
            <a:r>
              <a:rPr lang="en-AU" dirty="0"/>
              <a:t>Next Steps | CSM Onboarding    </a:t>
            </a:r>
          </a:p>
        </p:txBody>
      </p:sp>
      <p:cxnSp>
        <p:nvCxnSpPr>
          <p:cNvPr id="8" name="Straight Arrow Connector 7">
            <a:extLst>
              <a:ext uri="{FF2B5EF4-FFF2-40B4-BE49-F238E27FC236}">
                <a16:creationId xmlns:a16="http://schemas.microsoft.com/office/drawing/2014/main" id="{3B13BCE3-1763-F944-AE43-D86DA7868064}"/>
              </a:ext>
            </a:extLst>
          </p:cNvPr>
          <p:cNvCxnSpPr>
            <a:stCxn id="5" idx="1"/>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87D05257-EBA8-C941-AF99-4B34A2D0698B}"/>
              </a:ext>
            </a:extLst>
          </p:cNvPr>
          <p:cNvSpPr/>
          <p:nvPr/>
        </p:nvSpPr>
        <p:spPr>
          <a:xfrm>
            <a:off x="24977546" y="2216461"/>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1828800" hangingPunct="1">
              <a:defRPr/>
            </a:pPr>
            <a:r>
              <a:rPr lang="en-AU" sz="1600" i="1" kern="1200" dirty="0">
                <a:solidFill>
                  <a:srgbClr val="000000"/>
                </a:solidFill>
                <a:latin typeface="IBM Plex Sans" panose="020B0503050203000203" pitchFamily="34" charset="0"/>
                <a:cs typeface="Calibri"/>
              </a:rPr>
              <a:t>CTL : Client Technical Lead </a:t>
            </a:r>
          </a:p>
          <a:p>
            <a:pPr algn="l" defTabSz="1828800" hangingPunct="1">
              <a:defRPr/>
            </a:pPr>
            <a:r>
              <a:rPr lang="en-AU" sz="1600" i="1" kern="1200" dirty="0">
                <a:solidFill>
                  <a:srgbClr val="000000"/>
                </a:solidFill>
                <a:latin typeface="IBM Plex Sans" panose="020B0503050203000203" pitchFamily="34" charset="0"/>
                <a:cs typeface="Calibri"/>
              </a:rPr>
              <a:t>SCL: Software Client Lead </a:t>
            </a:r>
          </a:p>
          <a:p>
            <a:pPr algn="l" defTabSz="1828800" hangingPunct="1">
              <a:defRPr/>
            </a:pPr>
            <a:r>
              <a:rPr lang="en-AU" sz="1600" i="1" kern="1200" dirty="0">
                <a:solidFill>
                  <a:srgbClr val="000000"/>
                </a:solidFill>
                <a:latin typeface="IBM Plex Sans" panose="020B0503050203000203" pitchFamily="34" charset="0"/>
                <a:cs typeface="Calibri"/>
              </a:rPr>
              <a:t>STA: Software Technical Architect</a:t>
            </a:r>
          </a:p>
          <a:p>
            <a:pPr algn="l" defTabSz="1828800" hangingPunct="1">
              <a:defRPr/>
            </a:pPr>
            <a:r>
              <a:rPr lang="en-AU" sz="1600" i="1" kern="1200" dirty="0">
                <a:solidFill>
                  <a:srgbClr val="000000"/>
                </a:solidFill>
                <a:latin typeface="IBM Plex Sans" panose="020B0503050203000203" pitchFamily="34" charset="0"/>
                <a:cs typeface="Calibri"/>
              </a:rPr>
              <a:t>SDL: Software Deployment Lead </a:t>
            </a:r>
          </a:p>
          <a:p>
            <a:pPr algn="l" defTabSz="1828800" hangingPunct="1">
              <a:defRPr/>
            </a:pPr>
            <a:endParaRPr lang="en-AU" sz="1600" i="1" kern="1200" dirty="0">
              <a:solidFill>
                <a:srgbClr val="000000"/>
              </a:solidFill>
              <a:latin typeface="IBM Plex Sans" panose="020B0503050203000203" pitchFamily="34" charset="0"/>
              <a:cs typeface="Calibri"/>
            </a:endParaRPr>
          </a:p>
        </p:txBody>
      </p:sp>
      <p:pic>
        <p:nvPicPr>
          <p:cNvPr id="14" name="Picture 13">
            <a:extLst>
              <a:ext uri="{FF2B5EF4-FFF2-40B4-BE49-F238E27FC236}">
                <a16:creationId xmlns:a16="http://schemas.microsoft.com/office/drawing/2014/main" id="{0710731A-A695-891B-0848-964AE72E1528}"/>
              </a:ext>
            </a:extLst>
          </p:cNvPr>
          <p:cNvPicPr>
            <a:picLocks noChangeAspect="1"/>
          </p:cNvPicPr>
          <p:nvPr/>
        </p:nvPicPr>
        <p:blipFill>
          <a:blip r:embed="rId3"/>
          <a:stretch>
            <a:fillRect/>
          </a:stretch>
        </p:blipFill>
        <p:spPr>
          <a:xfrm>
            <a:off x="19211455" y="164105"/>
            <a:ext cx="1460258" cy="1096702"/>
          </a:xfrm>
          <a:prstGeom prst="rect">
            <a:avLst/>
          </a:prstGeom>
        </p:spPr>
      </p:pic>
      <p:graphicFrame>
        <p:nvGraphicFramePr>
          <p:cNvPr id="17" name="Content Placeholder">
            <a:extLst>
              <a:ext uri="{FF2B5EF4-FFF2-40B4-BE49-F238E27FC236}">
                <a16:creationId xmlns:a16="http://schemas.microsoft.com/office/drawing/2014/main" id="{CC36CDD3-B2B5-54E7-1310-4E5408CF69B9}"/>
              </a:ext>
            </a:extLst>
          </p:cNvPr>
          <p:cNvGraphicFramePr/>
          <p:nvPr>
            <p:extLst>
              <p:ext uri="{D42A27DB-BD31-4B8C-83A1-F6EECF244321}">
                <p14:modId xmlns:p14="http://schemas.microsoft.com/office/powerpoint/2010/main" val="1576213655"/>
              </p:ext>
            </p:extLst>
          </p:nvPr>
        </p:nvGraphicFramePr>
        <p:xfrm>
          <a:off x="234663" y="1828802"/>
          <a:ext cx="17138938" cy="4196080"/>
        </p:xfrm>
        <a:graphic>
          <a:graphicData uri="http://schemas.openxmlformats.org/drawingml/2006/table">
            <a:tbl>
              <a:tblPr firstRow="1"/>
              <a:tblGrid>
                <a:gridCol w="4184938">
                  <a:extLst>
                    <a:ext uri="{9D8B030D-6E8A-4147-A177-3AD203B41FA5}">
                      <a16:colId xmlns:a16="http://schemas.microsoft.com/office/drawing/2014/main" val="20000"/>
                    </a:ext>
                  </a:extLst>
                </a:gridCol>
                <a:gridCol w="10820400">
                  <a:extLst>
                    <a:ext uri="{9D8B030D-6E8A-4147-A177-3AD203B41FA5}">
                      <a16:colId xmlns:a16="http://schemas.microsoft.com/office/drawing/2014/main" val="267068208"/>
                    </a:ext>
                  </a:extLst>
                </a:gridCol>
                <a:gridCol w="2133600">
                  <a:extLst>
                    <a:ext uri="{9D8B030D-6E8A-4147-A177-3AD203B41FA5}">
                      <a16:colId xmlns:a16="http://schemas.microsoft.com/office/drawing/2014/main" val="20001"/>
                    </a:ext>
                  </a:extLst>
                </a:gridCol>
              </a:tblGrid>
              <a:tr h="1087120">
                <a:tc>
                  <a:txBody>
                    <a:bodyPr/>
                    <a:lstStyle/>
                    <a:p>
                      <a:pPr algn="l" defTabSz="2438400">
                        <a:spcBef>
                          <a:spcPts val="1200"/>
                        </a:spcBef>
                        <a:defRPr sz="1800" b="0"/>
                      </a:pPr>
                      <a:r>
                        <a:rPr lang="en-AU" sz="2800" b="1" dirty="0">
                          <a:solidFill>
                            <a:srgbClr val="FFFFFF"/>
                          </a:solidFill>
                          <a:latin typeface="IBM Plex Sans"/>
                          <a:ea typeface="IBM Plex Sans"/>
                          <a:cs typeface="IBM Plex Sans"/>
                          <a:sym typeface="IBM Plex Sans"/>
                        </a:rPr>
                        <a:t>Meeting </a:t>
                      </a:r>
                      <a:endParaRPr sz="2800" b="1" dirty="0">
                        <a:solidFill>
                          <a:srgbClr val="FFFFFF"/>
                        </a:solidFill>
                        <a:latin typeface="IBM Plex Sans"/>
                        <a:ea typeface="IBM Plex Sans"/>
                        <a:cs typeface="IBM Plex Sans"/>
                        <a:sym typeface="IBM Plex Sans"/>
                      </a:endParaRPr>
                    </a:p>
                  </a:txBody>
                  <a:tcPr marL="330200" marR="330200" marT="330200" marB="3302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lang="en-AU" sz="2800" b="1" dirty="0">
                          <a:solidFill>
                            <a:srgbClr val="FFFFFF"/>
                          </a:solidFill>
                          <a:latin typeface="IBM Plex Sans"/>
                          <a:ea typeface="IBM Plex Sans"/>
                          <a:cs typeface="IBM Plex Sans"/>
                          <a:sym typeface="IBM Plex Sans"/>
                        </a:rPr>
                        <a:t>Frequency </a:t>
                      </a:r>
                      <a:endParaRPr sz="2800" b="1" dirty="0">
                        <a:solidFill>
                          <a:srgbClr val="FFFFFF"/>
                        </a:solidFill>
                        <a:latin typeface="IBM Plex Sans"/>
                        <a:ea typeface="IBM Plex Sans"/>
                        <a:cs typeface="IBM Plex Sans"/>
                        <a:sym typeface="IBM Plex Sans"/>
                      </a:endParaRPr>
                    </a:p>
                  </a:txBody>
                  <a:tcPr marL="330200" marR="330200" marT="330200" marB="330200" horzOverflow="overflow">
                    <a:lnL w="12700">
                      <a:solidFill>
                        <a:srgbClr val="929292"/>
                      </a:solidFill>
                      <a:miter lim="400000"/>
                    </a:lnL>
                    <a:lnR w="12700" cap="flat" cmpd="sng" algn="ctr">
                      <a:solidFill>
                        <a:srgbClr val="929292"/>
                      </a:solidFill>
                      <a:prstDash val="solid"/>
                      <a:miter lim="400000"/>
                      <a:headEnd type="none" w="med" len="med"/>
                      <a:tailEnd type="none" w="med" len="med"/>
                    </a:lnR>
                    <a:lnT w="12700">
                      <a:solidFill>
                        <a:srgbClr val="929292"/>
                      </a:solidFill>
                      <a:miter lim="400000"/>
                    </a:lnT>
                    <a:lnB w="12700" cap="flat" cmpd="sng" algn="ctr">
                      <a:solidFill>
                        <a:srgbClr val="929292"/>
                      </a:solidFill>
                      <a:prstDash val="solid"/>
                      <a:miter lim="400000"/>
                      <a:headEnd type="none" w="med" len="med"/>
                      <a:tailEnd type="none" w="med" len="med"/>
                    </a:lnB>
                    <a:solidFill>
                      <a:srgbClr val="0F62FE"/>
                    </a:solidFill>
                  </a:tcPr>
                </a:tc>
                <a:tc>
                  <a:txBody>
                    <a:bodyPr/>
                    <a:lstStyle/>
                    <a:p>
                      <a:pPr algn="l" defTabSz="2438400">
                        <a:spcBef>
                          <a:spcPts val="1200"/>
                        </a:spcBef>
                        <a:defRPr sz="1800" b="0"/>
                      </a:pPr>
                      <a:r>
                        <a:rPr lang="en-AU" sz="2800" b="1" dirty="0">
                          <a:solidFill>
                            <a:srgbClr val="FFFFFF"/>
                          </a:solidFill>
                          <a:latin typeface="IBM Plex Sans"/>
                          <a:ea typeface="IBM Plex Sans"/>
                          <a:cs typeface="IBM Plex Sans"/>
                          <a:sym typeface="IBM Plex Sans"/>
                        </a:rPr>
                        <a:t>Date </a:t>
                      </a:r>
                      <a:endParaRPr sz="2800" b="1" dirty="0">
                        <a:solidFill>
                          <a:srgbClr val="FFFFFF"/>
                        </a:solidFill>
                        <a:latin typeface="IBM Plex Sans"/>
                        <a:ea typeface="IBM Plex Sans"/>
                        <a:cs typeface="IBM Plex Sans"/>
                        <a:sym typeface="IBM Plex Sans"/>
                      </a:endParaRPr>
                    </a:p>
                  </a:txBody>
                  <a:tcPr marL="330200" marR="330200" marT="330200" marB="3302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extLst>
                  <a:ext uri="{0D108BD9-81ED-4DB2-BD59-A6C34878D82A}">
                    <a16:rowId xmlns:a16="http://schemas.microsoft.com/office/drawing/2014/main" val="10000"/>
                  </a:ext>
                </a:extLst>
              </a:tr>
              <a:tr h="1036320">
                <a:tc>
                  <a:txBody>
                    <a:bodyPr/>
                    <a:lstStyle/>
                    <a:p>
                      <a:pPr algn="l" defTabSz="2438400">
                        <a:spcBef>
                          <a:spcPts val="1200"/>
                        </a:spcBef>
                        <a:defRPr sz="1800"/>
                      </a:pPr>
                      <a:r>
                        <a:rPr lang="en-AU" sz="2400" dirty="0">
                          <a:latin typeface="IBM Plex Sans"/>
                          <a:ea typeface="IBM Plex Sans"/>
                          <a:cs typeface="IBM Plex Sans"/>
                          <a:sym typeface="IBM Plex Sans"/>
                        </a:rPr>
                        <a:t>Governance Meeting </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Monthly]</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cap="flat" cmpd="sng" algn="ctr">
                      <a:solidFill>
                        <a:srgbClr val="929292"/>
                      </a:solidFill>
                      <a:prstDash val="solid"/>
                      <a:miter lim="400000"/>
                      <a:headEnd type="none" w="med" len="med"/>
                      <a:tailEnd type="none" w="med" len="med"/>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sz="2400" dirty="0">
                          <a:latin typeface="IBM Plex Sans"/>
                          <a:ea typeface="IBM Plex Sans"/>
                          <a:cs typeface="IBM Plex Sans"/>
                          <a:sym typeface="IBM Plex Sans"/>
                        </a:rPr>
                        <a:t>[</a:t>
                      </a:r>
                      <a:r>
                        <a:rPr lang="en-AU" sz="2400" dirty="0">
                          <a:latin typeface="IBM Plex Sans"/>
                          <a:ea typeface="IBM Plex Sans"/>
                          <a:cs typeface="IBM Plex Sans"/>
                          <a:sym typeface="IBM Plex Sans"/>
                        </a:rPr>
                        <a:t>TBC]</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1"/>
                  </a:ext>
                </a:extLst>
              </a:tr>
              <a:tr h="1036320">
                <a:tc>
                  <a:txBody>
                    <a:bodyPr/>
                    <a:lstStyle/>
                    <a:p>
                      <a:pPr algn="l" defTabSz="2438400">
                        <a:spcBef>
                          <a:spcPts val="1200"/>
                        </a:spcBef>
                        <a:defRPr sz="1800"/>
                      </a:pPr>
                      <a:r>
                        <a:rPr lang="en-AU" sz="2400" dirty="0">
                          <a:latin typeface="IBM Plex Sans"/>
                          <a:ea typeface="IBM Plex Sans"/>
                          <a:cs typeface="IBM Plex Sans"/>
                          <a:sym typeface="IBM Plex Sans"/>
                        </a:rPr>
                        <a:t>Project [1]  Meeting </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cap="flat" cmpd="sng" algn="ctr">
                      <a:solidFill>
                        <a:srgbClr val="929292"/>
                      </a:solidFill>
                      <a:prstDash val="solid"/>
                      <a:miter lim="400000"/>
                      <a:headEnd type="none" w="med" len="med"/>
                      <a:tailEnd type="none" w="med" len="med"/>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Weekly, Fortnightly]</a:t>
                      </a:r>
                      <a:endParaRPr sz="2400" dirty="0">
                        <a:latin typeface="IBM Plex Sans"/>
                        <a:ea typeface="IBM Plex Sans"/>
                        <a:cs typeface="IBM Plex Sans"/>
                        <a:sym typeface="IBM Plex Sans"/>
                      </a:endParaRPr>
                    </a:p>
                  </a:txBody>
                  <a:tcPr marL="304800" marR="304800" marT="304800" marB="304800" horzOverflow="overflow">
                    <a:lnL w="12700" cap="flat" cmpd="sng" algn="ctr">
                      <a:solidFill>
                        <a:srgbClr val="929292"/>
                      </a:solidFill>
                      <a:prstDash val="solid"/>
                      <a:miter lim="400000"/>
                      <a:headEnd type="none" w="med" len="med"/>
                      <a:tailEnd type="none" w="med" len="med"/>
                    </a:lnL>
                    <a:lnR w="12700" cap="flat" cmpd="sng" algn="ctr">
                      <a:solidFill>
                        <a:srgbClr val="929292"/>
                      </a:solidFill>
                      <a:prstDash val="solid"/>
                      <a:miter lim="400000"/>
                      <a:headEnd type="none" w="med" len="med"/>
                      <a:tailEnd type="none" w="med" len="med"/>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TBC] </a:t>
                      </a:r>
                      <a:endParaRPr sz="2400" dirty="0">
                        <a:latin typeface="IBM Plex Sans"/>
                        <a:ea typeface="IBM Plex Sans"/>
                        <a:cs typeface="IBM Plex Sans"/>
                        <a:sym typeface="IBM Plex Sans"/>
                      </a:endParaRPr>
                    </a:p>
                  </a:txBody>
                  <a:tcPr marL="304800" marR="304800" marT="304800" marB="304800" horzOverflow="overflow">
                    <a:lnL w="12700" cap="flat" cmpd="sng" algn="ctr">
                      <a:solidFill>
                        <a:srgbClr val="929292"/>
                      </a:solidFill>
                      <a:prstDash val="solid"/>
                      <a:miter lim="400000"/>
                      <a:headEnd type="none" w="med" len="med"/>
                      <a:tailEnd type="none" w="med" len="med"/>
                    </a:lnL>
                    <a:lnR w="12700">
                      <a:solidFill>
                        <a:srgbClr val="929292"/>
                      </a:solidFill>
                      <a:miter lim="400000"/>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extLst>
                  <a:ext uri="{0D108BD9-81ED-4DB2-BD59-A6C34878D82A}">
                    <a16:rowId xmlns:a16="http://schemas.microsoft.com/office/drawing/2014/main" val="3348379479"/>
                  </a:ext>
                </a:extLst>
              </a:tr>
              <a:tr h="1036320">
                <a:tc>
                  <a:txBody>
                    <a:bodyPr/>
                    <a:lstStyle/>
                    <a:p>
                      <a:pPr algn="l" defTabSz="2438400">
                        <a:spcBef>
                          <a:spcPts val="1200"/>
                        </a:spcBef>
                        <a:defRPr sz="1800"/>
                      </a:pPr>
                      <a:r>
                        <a:rPr lang="en-AU" sz="2400" dirty="0">
                          <a:latin typeface="IBM Plex Sans"/>
                          <a:ea typeface="IBM Plex Sans"/>
                          <a:cs typeface="IBM Plex Sans"/>
                          <a:sym typeface="IBM Plex Sans"/>
                        </a:rPr>
                        <a:t>Project […]  Meeting </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a:solidFill>
                        <a:srgbClr val="929292"/>
                      </a:solidFill>
                      <a:miter lim="400000"/>
                    </a:lnR>
                    <a:lnT w="12700">
                      <a:solidFill>
                        <a:srgbClr val="929292"/>
                      </a:solidFill>
                      <a:miter lim="400000"/>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Weekly, Fortnightly]</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cap="flat" cmpd="sng" algn="ctr">
                      <a:solidFill>
                        <a:srgbClr val="929292"/>
                      </a:solidFill>
                      <a:prstDash val="solid"/>
                      <a:miter lim="400000"/>
                      <a:headEnd type="none" w="med" len="med"/>
                      <a:tailEnd type="none" w="med" len="med"/>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TBC] </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a:solidFill>
                        <a:srgbClr val="929292"/>
                      </a:solidFill>
                      <a:miter lim="400000"/>
                    </a:lnR>
                    <a:lnT w="12700">
                      <a:solidFill>
                        <a:srgbClr val="929292"/>
                      </a:solidFill>
                      <a:miter lim="400000"/>
                    </a:lnT>
                    <a:lnB w="12700" cap="flat" cmpd="sng" algn="ctr">
                      <a:solidFill>
                        <a:srgbClr val="929292"/>
                      </a:solidFill>
                      <a:prstDash val="solid"/>
                      <a:miter lim="400000"/>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pic>
        <p:nvPicPr>
          <p:cNvPr id="3" name="Picture 2">
            <a:extLst>
              <a:ext uri="{FF2B5EF4-FFF2-40B4-BE49-F238E27FC236}">
                <a16:creationId xmlns:a16="http://schemas.microsoft.com/office/drawing/2014/main" id="{2AF8161A-D3B2-EBF1-288A-BF25CCE1760E}"/>
              </a:ext>
            </a:extLst>
          </p:cNvPr>
          <p:cNvPicPr>
            <a:picLocks noChangeAspect="1"/>
          </p:cNvPicPr>
          <p:nvPr/>
        </p:nvPicPr>
        <p:blipFill>
          <a:blip r:embed="rId4"/>
          <a:stretch>
            <a:fillRect/>
          </a:stretch>
        </p:blipFill>
        <p:spPr>
          <a:xfrm>
            <a:off x="11125201" y="225638"/>
            <a:ext cx="1460258" cy="1035168"/>
          </a:xfrm>
          <a:prstGeom prst="rect">
            <a:avLst/>
          </a:prstGeom>
        </p:spPr>
      </p:pic>
      <p:sp>
        <p:nvSpPr>
          <p:cNvPr id="11" name="Straight Connector 81">
            <a:extLst>
              <a:ext uri="{FF2B5EF4-FFF2-40B4-BE49-F238E27FC236}">
                <a16:creationId xmlns:a16="http://schemas.microsoft.com/office/drawing/2014/main" id="{9FE7FD76-2D2A-3943-925E-04D253024FE1}"/>
              </a:ext>
            </a:extLst>
          </p:cNvPr>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2" name="Straight Connector 82">
            <a:extLst>
              <a:ext uri="{FF2B5EF4-FFF2-40B4-BE49-F238E27FC236}">
                <a16:creationId xmlns:a16="http://schemas.microsoft.com/office/drawing/2014/main" id="{A5B1D4A7-7C38-7771-5E8A-1EA79008CA27}"/>
              </a:ext>
            </a:extLst>
          </p:cNvPr>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 name="Straight Connector 83">
            <a:extLst>
              <a:ext uri="{FF2B5EF4-FFF2-40B4-BE49-F238E27FC236}">
                <a16:creationId xmlns:a16="http://schemas.microsoft.com/office/drawing/2014/main" id="{C571C5EE-74F1-1A90-B100-918143F94A24}"/>
              </a:ext>
            </a:extLst>
          </p:cNvPr>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 name="Straight Connector 84">
            <a:extLst>
              <a:ext uri="{FF2B5EF4-FFF2-40B4-BE49-F238E27FC236}">
                <a16:creationId xmlns:a16="http://schemas.microsoft.com/office/drawing/2014/main" id="{BC97A036-2A80-CAC7-25E3-BFEA7C9B49F7}"/>
              </a:ext>
            </a:extLst>
          </p:cNvPr>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8" name="Straight Connector 80">
            <a:extLst>
              <a:ext uri="{FF2B5EF4-FFF2-40B4-BE49-F238E27FC236}">
                <a16:creationId xmlns:a16="http://schemas.microsoft.com/office/drawing/2014/main" id="{8B9931DA-8FA8-2C22-B8E6-76DE10DD2E0B}"/>
              </a:ext>
            </a:extLst>
          </p:cNvPr>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19" name="CSMLogo_Final-04.jpg" descr="CSMLogo_Final-04.jpg">
            <a:extLst>
              <a:ext uri="{FF2B5EF4-FFF2-40B4-BE49-F238E27FC236}">
                <a16:creationId xmlns:a16="http://schemas.microsoft.com/office/drawing/2014/main" id="{E600043D-CE43-D98F-B46C-DAA1E052BD86}"/>
              </a:ext>
            </a:extLst>
          </p:cNvPr>
          <p:cNvPicPr>
            <a:picLocks noChangeAspect="1"/>
          </p:cNvPicPr>
          <p:nvPr/>
        </p:nvPicPr>
        <p:blipFill>
          <a:blip r:embed="rId5"/>
          <a:srcRect r="71135"/>
          <a:stretch>
            <a:fillRect/>
          </a:stretch>
        </p:blipFill>
        <p:spPr>
          <a:xfrm>
            <a:off x="532112" y="12986056"/>
            <a:ext cx="669349" cy="685938"/>
          </a:xfrm>
          <a:prstGeom prst="rect">
            <a:avLst/>
          </a:prstGeom>
          <a:ln w="12700">
            <a:miter lim="400000"/>
          </a:ln>
        </p:spPr>
      </p:pic>
      <p:sp>
        <p:nvSpPr>
          <p:cNvPr id="20" name="IBM Customer Success / © 2021 IBM Corporation">
            <a:extLst>
              <a:ext uri="{FF2B5EF4-FFF2-40B4-BE49-F238E27FC236}">
                <a16:creationId xmlns:a16="http://schemas.microsoft.com/office/drawing/2014/main" id="{9E48B584-0B6F-DB1D-CCFF-6730F666118D}"/>
              </a:ext>
            </a:extLst>
          </p:cNvPr>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
        <p:nvSpPr>
          <p:cNvPr id="23" name="Process 22">
            <a:extLst>
              <a:ext uri="{FF2B5EF4-FFF2-40B4-BE49-F238E27FC236}">
                <a16:creationId xmlns:a16="http://schemas.microsoft.com/office/drawing/2014/main" id="{ED9663CF-8AFA-BD27-2CE3-C7BA9BF93A94}"/>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1636331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1" name="Slide Number"/>
          <p:cNvSpPr txBox="1">
            <a:spLocks noGrp="1"/>
          </p:cNvSpPr>
          <p:nvPr>
            <p:ph type="sldNum" sz="quarter" idx="2"/>
          </p:nvPr>
        </p:nvSpPr>
        <p:spPr>
          <a:xfrm>
            <a:off x="23140772" y="12598399"/>
            <a:ext cx="297181" cy="508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marL="0" marR="0" lvl="0" indent="0" algn="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sz="2400" b="0" i="0" u="none" strike="noStrike" kern="0" cap="none" spc="0" normalizeH="0" baseline="0" noProof="0">
                <a:ln>
                  <a:noFill/>
                </a:ln>
                <a:solidFill>
                  <a:srgbClr val="FFFFFF"/>
                </a:solidFill>
                <a:effectLst/>
                <a:uLnTx/>
                <a:uFillTx/>
                <a:latin typeface="IBM Plex Sans"/>
                <a:sym typeface="IBM Plex Sans"/>
              </a:rPr>
              <a:pPr marL="0" marR="0" lvl="0" indent="0" algn="r" defTabSz="584200" rtl="0" eaLnBrk="1" fontAlgn="auto" latinLnBrk="0" hangingPunct="0">
                <a:lnSpc>
                  <a:spcPct val="100000"/>
                </a:lnSpc>
                <a:spcBef>
                  <a:spcPts val="0"/>
                </a:spcBef>
                <a:spcAft>
                  <a:spcPts val="0"/>
                </a:spcAft>
                <a:buClrTx/>
                <a:buSzTx/>
                <a:buFontTx/>
                <a:buNone/>
                <a:tabLst/>
                <a:defRPr/>
              </a:pPr>
              <a:t>15</a:t>
            </a:fld>
            <a:endParaRPr kumimoji="0" sz="2400" b="0" i="0" u="none" strike="noStrike" kern="0" cap="none" spc="0" normalizeH="0" baseline="0" noProof="0">
              <a:ln>
                <a:noFill/>
              </a:ln>
              <a:solidFill>
                <a:srgbClr val="FFFFFF"/>
              </a:solidFill>
              <a:effectLst/>
              <a:uLnTx/>
              <a:uFillTx/>
              <a:latin typeface="IBM Plex Sans"/>
              <a:sym typeface="IBM Plex Sans"/>
            </a:endParaRPr>
          </a:p>
        </p:txBody>
      </p:sp>
      <p:graphicFrame>
        <p:nvGraphicFramePr>
          <p:cNvPr id="1312" name="Content Placeholder"/>
          <p:cNvGraphicFramePr/>
          <p:nvPr/>
        </p:nvGraphicFramePr>
        <p:xfrm>
          <a:off x="606867" y="2709608"/>
          <a:ext cx="21991876" cy="4427537"/>
        </p:xfrm>
        <a:graphic>
          <a:graphicData uri="http://schemas.openxmlformats.org/drawingml/2006/table">
            <a:tbl>
              <a:tblPr firstRow="1">
                <a:tableStyleId>{4C3C2611-4C71-4FC5-86AE-919BDF0F9419}</a:tableStyleId>
              </a:tblPr>
              <a:tblGrid>
                <a:gridCol w="4827781">
                  <a:extLst>
                    <a:ext uri="{9D8B030D-6E8A-4147-A177-3AD203B41FA5}">
                      <a16:colId xmlns:a16="http://schemas.microsoft.com/office/drawing/2014/main" val="20000"/>
                    </a:ext>
                  </a:extLst>
                </a:gridCol>
                <a:gridCol w="3141409">
                  <a:extLst>
                    <a:ext uri="{9D8B030D-6E8A-4147-A177-3AD203B41FA5}">
                      <a16:colId xmlns:a16="http://schemas.microsoft.com/office/drawing/2014/main" val="20001"/>
                    </a:ext>
                  </a:extLst>
                </a:gridCol>
                <a:gridCol w="3141409">
                  <a:extLst>
                    <a:ext uri="{9D8B030D-6E8A-4147-A177-3AD203B41FA5}">
                      <a16:colId xmlns:a16="http://schemas.microsoft.com/office/drawing/2014/main" val="20002"/>
                    </a:ext>
                  </a:extLst>
                </a:gridCol>
                <a:gridCol w="3141409">
                  <a:extLst>
                    <a:ext uri="{9D8B030D-6E8A-4147-A177-3AD203B41FA5}">
                      <a16:colId xmlns:a16="http://schemas.microsoft.com/office/drawing/2014/main" val="20003"/>
                    </a:ext>
                  </a:extLst>
                </a:gridCol>
                <a:gridCol w="7739868">
                  <a:extLst>
                    <a:ext uri="{9D8B030D-6E8A-4147-A177-3AD203B41FA5}">
                      <a16:colId xmlns:a16="http://schemas.microsoft.com/office/drawing/2014/main" val="20004"/>
                    </a:ext>
                  </a:extLst>
                </a:gridCol>
              </a:tblGrid>
              <a:tr h="808037">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Your Entitlement</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Status</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Usage</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First Subscribed</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Existing use-case?</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extLst>
                  <a:ext uri="{0D108BD9-81ED-4DB2-BD59-A6C34878D82A}">
                    <a16:rowId xmlns:a16="http://schemas.microsoft.com/office/drawing/2014/main" val="10000"/>
                  </a:ext>
                </a:extLst>
              </a:tr>
              <a:tr h="723900">
                <a:tc>
                  <a:txBody>
                    <a:bodyPr/>
                    <a:lstStyle/>
                    <a:p>
                      <a:pPr algn="l" defTabSz="2438400">
                        <a:spcBef>
                          <a:spcPts val="1200"/>
                        </a:spcBef>
                        <a:defRPr sz="1800"/>
                      </a:pPr>
                      <a:r>
                        <a:rPr sz="2400" dirty="0">
                          <a:latin typeface="IBM Plex Sans"/>
                          <a:ea typeface="IBM Plex Sans"/>
                          <a:cs typeface="IBM Plex Sans"/>
                          <a:sym typeface="IBM Plex Sans"/>
                        </a:rPr>
                        <a:t>[Entitlement Name] </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400">
                          <a:latin typeface="IBM Plex Sans"/>
                          <a:ea typeface="IBM Plex Sans"/>
                          <a:cs typeface="IBM Plex Sans"/>
                          <a:sym typeface="IBM Plex Sans"/>
                        </a:rPr>
                        <a:t>[Status]</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400">
                          <a:latin typeface="IBM Plex Sans"/>
                          <a:ea typeface="IBM Plex Sans"/>
                          <a:cs typeface="IBM Plex Sans"/>
                          <a:sym typeface="IBM Plex Sans"/>
                        </a:rPr>
                        <a:t>[Date]</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400">
                          <a:latin typeface="IBM Plex Sans"/>
                          <a:ea typeface="IBM Plex Sans"/>
                          <a:cs typeface="IBM Plex Sans"/>
                          <a:sym typeface="IBM Plex Sans"/>
                        </a:rPr>
                        <a:t>[Date]</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400">
                          <a:latin typeface="IBM Plex Sans"/>
                          <a:ea typeface="IBM Plex Sans"/>
                          <a:cs typeface="IBM Plex Sans"/>
                          <a:sym typeface="IBM Plex Sans"/>
                        </a:rPr>
                        <a:t>[Summary]</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1"/>
                  </a:ext>
                </a:extLst>
              </a:tr>
              <a:tr h="723900">
                <a:tc>
                  <a:txBody>
                    <a:bodyPr/>
                    <a:lstStyle/>
                    <a:p>
                      <a:pPr algn="l" defTabSz="2438400">
                        <a:spcBef>
                          <a:spcPts val="2200"/>
                        </a:spcBef>
                        <a:defRPr sz="2400">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dirty="0"/>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2"/>
                  </a:ext>
                </a:extLst>
              </a:tr>
              <a:tr h="723900">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3"/>
                  </a:ext>
                </a:extLst>
              </a:tr>
              <a:tr h="723900">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4"/>
                  </a:ext>
                </a:extLst>
              </a:tr>
              <a:tr h="723900">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dirty="0"/>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5"/>
                  </a:ext>
                </a:extLst>
              </a:tr>
            </a:tbl>
          </a:graphicData>
        </a:graphic>
      </p:graphicFrame>
      <p:sp>
        <p:nvSpPr>
          <p:cNvPr id="1313" name="Your current IBM entitlements"/>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Scope | </a:t>
            </a:r>
            <a:r>
              <a:rPr kumimoji="0" sz="6400" b="0" i="0" u="none" strike="noStrike" kern="0" cap="none" spc="0" normalizeH="0" baseline="0" noProof="0" dirty="0">
                <a:ln>
                  <a:noFill/>
                </a:ln>
                <a:solidFill>
                  <a:srgbClr val="000000"/>
                </a:solidFill>
                <a:effectLst/>
                <a:uLnTx/>
                <a:uFillTx/>
                <a:latin typeface="IBM Plex Sans"/>
                <a:sym typeface="IBM Plex Sans"/>
              </a:rPr>
              <a:t>Your current IBM entitlements</a:t>
            </a:r>
          </a:p>
        </p:txBody>
      </p:sp>
      <p:sp>
        <p:nvSpPr>
          <p:cNvPr id="1314" name="Star"/>
          <p:cNvSpPr/>
          <p:nvPr/>
        </p:nvSpPr>
        <p:spPr>
          <a:xfrm>
            <a:off x="9829800" y="5283717"/>
            <a:ext cx="6783391"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1315" name="Note to CSMer…"/>
          <p:cNvSpPr txBox="1"/>
          <p:nvPr/>
        </p:nvSpPr>
        <p:spPr>
          <a:xfrm>
            <a:off x="10091057" y="6262192"/>
            <a:ext cx="5910943" cy="18261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800" b="1" i="0" u="none" strike="noStrike" kern="0" cap="none" spc="0" normalizeH="0" baseline="0" noProof="0" dirty="0">
                <a:ln>
                  <a:noFill/>
                </a:ln>
                <a:solidFill>
                  <a:srgbClr val="FFFFFF"/>
                </a:solidFill>
                <a:effectLst/>
                <a:uLnTx/>
                <a:uFillTx/>
                <a:latin typeface="IBM Plex Sans"/>
                <a:sym typeface="IBM Plex Sans"/>
              </a:rPr>
              <a:t>Note to </a:t>
            </a:r>
            <a:r>
              <a:rPr kumimoji="0" sz="2800" b="1" i="0" u="none" strike="noStrike" kern="0" cap="none" spc="0" normalizeH="0" baseline="0" noProof="0" dirty="0" err="1">
                <a:ln>
                  <a:noFill/>
                </a:ln>
                <a:solidFill>
                  <a:srgbClr val="FFFFFF"/>
                </a:solidFill>
                <a:effectLst/>
                <a:uLnTx/>
                <a:uFillTx/>
                <a:latin typeface="IBM Plex Sans"/>
                <a:sym typeface="IBM Plex Sans"/>
              </a:rPr>
              <a:t>CSMer</a:t>
            </a:r>
            <a:endParaRPr kumimoji="0" sz="2800" b="0" i="0" u="none" strike="noStrike" kern="0" cap="none" spc="0" normalizeH="0" baseline="0" noProof="0" dirty="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800" b="0" i="0" u="none" strike="noStrike" kern="0" cap="none" spc="0" normalizeH="0" baseline="0" noProof="0" dirty="0">
                <a:ln>
                  <a:noFill/>
                </a:ln>
                <a:solidFill>
                  <a:srgbClr val="FFFFFF"/>
                </a:solidFill>
                <a:effectLst/>
                <a:uLnTx/>
                <a:uFillTx/>
                <a:latin typeface="IBM Plex Sans"/>
                <a:sym typeface="IBM Plex Sans"/>
              </a:rPr>
              <a:t>Fill this in or paste a screenshot from </a:t>
            </a:r>
            <a:r>
              <a:rPr kumimoji="0" lang="en-AU" sz="2800" b="0" i="0" u="none" strike="noStrike" kern="0" cap="none" spc="0" normalizeH="0" baseline="0" noProof="0" dirty="0" err="1">
                <a:ln>
                  <a:noFill/>
                </a:ln>
                <a:solidFill>
                  <a:srgbClr val="FFFFFF"/>
                </a:solidFill>
                <a:effectLst/>
                <a:uLnTx/>
                <a:uFillTx/>
                <a:latin typeface="IBM Plex Sans"/>
                <a:sym typeface="IBM Plex Sans"/>
              </a:rPr>
              <a:t>Fastpass</a:t>
            </a:r>
            <a:endParaRPr lang="en-AU" sz="2800" dirty="0">
              <a:solidFill>
                <a:srgbClr val="FFFFFF"/>
              </a:solidFill>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lang="en-AU" sz="2800" dirty="0">
                <a:solidFill>
                  <a:srgbClr val="FFFFFF"/>
                </a:solidFill>
                <a:latin typeface="IBM Plex Sans"/>
                <a:sym typeface="IBM Plex Sans"/>
              </a:rPr>
              <a:t>Alignment with ELA/ TDL </a:t>
            </a:r>
            <a:endParaRPr kumimoji="0" sz="2800" b="0" i="0" u="none" strike="noStrike" kern="0" cap="none" spc="0" normalizeH="0" baseline="0" noProof="0" dirty="0">
              <a:ln>
                <a:noFill/>
              </a:ln>
              <a:solidFill>
                <a:srgbClr val="FFFFFF"/>
              </a:solidFill>
              <a:effectLst/>
              <a:uLnTx/>
              <a:uFillTx/>
              <a:latin typeface="IBM Plex Sans"/>
              <a:sym typeface="IBM Plex Sans"/>
            </a:endParaRPr>
          </a:p>
        </p:txBody>
      </p:sp>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19211455" y="164105"/>
            <a:ext cx="1460258" cy="1096702"/>
          </a:xfrm>
          <a:prstGeom prst="rect">
            <a:avLst/>
          </a:prstGeom>
        </p:spPr>
      </p:pic>
      <p:sp>
        <p:nvSpPr>
          <p:cNvPr id="2" name="TextBox 1">
            <a:extLst>
              <a:ext uri="{FF2B5EF4-FFF2-40B4-BE49-F238E27FC236}">
                <a16:creationId xmlns:a16="http://schemas.microsoft.com/office/drawing/2014/main" id="{829E3798-C5CB-E2B5-0DE0-7279CF669CEE}"/>
              </a:ext>
            </a:extLst>
          </p:cNvPr>
          <p:cNvSpPr txBox="1"/>
          <p:nvPr/>
        </p:nvSpPr>
        <p:spPr>
          <a:xfrm>
            <a:off x="606867" y="7564579"/>
            <a:ext cx="498255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sz="2400" b="0" i="0" u="none" strike="noStrike" cap="none" spc="0" normalizeH="0" baseline="0" dirty="0">
                <a:ln>
                  <a:noFill/>
                </a:ln>
                <a:solidFill>
                  <a:srgbClr val="5E5E5E"/>
                </a:solidFill>
                <a:effectLst/>
                <a:uFillTx/>
                <a:latin typeface="+mn-lt"/>
                <a:ea typeface="+mn-ea"/>
                <a:cs typeface="+mn-cs"/>
                <a:sym typeface="Helvetica Neue"/>
              </a:rPr>
              <a:t>Date  DD/MM/YY</a:t>
            </a:r>
          </a:p>
        </p:txBody>
      </p:sp>
      <p:sp>
        <p:nvSpPr>
          <p:cNvPr id="12" name="Process 11">
            <a:extLst>
              <a:ext uri="{FF2B5EF4-FFF2-40B4-BE49-F238E27FC236}">
                <a16:creationId xmlns:a16="http://schemas.microsoft.com/office/drawing/2014/main" id="{3165A710-C4EC-220C-3D5D-967D7202CC45}"/>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835981878"/>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9" name="Rectangle"/>
          <p:cNvSpPr/>
          <p:nvPr/>
        </p:nvSpPr>
        <p:spPr>
          <a:xfrm>
            <a:off x="12817634" y="2805036"/>
            <a:ext cx="10970097" cy="9500060"/>
          </a:xfrm>
          <a:prstGeom prst="rect">
            <a:avLst/>
          </a:prstGeom>
          <a:solidFill>
            <a:srgbClr val="FFFFFF"/>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320" name="Rectangle"/>
          <p:cNvSpPr/>
          <p:nvPr/>
        </p:nvSpPr>
        <p:spPr>
          <a:xfrm>
            <a:off x="633230" y="2805036"/>
            <a:ext cx="10970098" cy="9500060"/>
          </a:xfrm>
          <a:prstGeom prst="rect">
            <a:avLst/>
          </a:prstGeom>
          <a:solidFill>
            <a:srgbClr val="FFFFFF"/>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321" name="Slide Number"/>
          <p:cNvSpPr txBox="1">
            <a:spLocks noGrp="1"/>
          </p:cNvSpPr>
          <p:nvPr>
            <p:ph type="sldNum" sz="quarter" idx="2"/>
          </p:nvPr>
        </p:nvSpPr>
        <p:spPr>
          <a:xfrm>
            <a:off x="23140772" y="12598399"/>
            <a:ext cx="297181" cy="508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marL="0" marR="0" lvl="0" indent="0" algn="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sz="2400" b="0" i="0" u="none" strike="noStrike" kern="0" cap="none" spc="0" normalizeH="0" baseline="0" noProof="0">
                <a:ln>
                  <a:noFill/>
                </a:ln>
                <a:solidFill>
                  <a:srgbClr val="FFFFFF"/>
                </a:solidFill>
                <a:effectLst/>
                <a:uLnTx/>
                <a:uFillTx/>
                <a:latin typeface="IBM Plex Sans"/>
                <a:sym typeface="IBM Plex Sans"/>
              </a:rPr>
              <a:pPr marL="0" marR="0" lvl="0" indent="0" algn="r" defTabSz="584200" rtl="0" eaLnBrk="1" fontAlgn="auto" latinLnBrk="0" hangingPunct="0">
                <a:lnSpc>
                  <a:spcPct val="100000"/>
                </a:lnSpc>
                <a:spcBef>
                  <a:spcPts val="0"/>
                </a:spcBef>
                <a:spcAft>
                  <a:spcPts val="0"/>
                </a:spcAft>
                <a:buClrTx/>
                <a:buSzTx/>
                <a:buFontTx/>
                <a:buNone/>
                <a:tabLst/>
                <a:defRPr/>
              </a:pPr>
              <a:t>16</a:t>
            </a:fld>
            <a:endParaRPr kumimoji="0" sz="2400" b="0" i="0" u="none" strike="noStrike" kern="0" cap="none" spc="0" normalizeH="0" baseline="0" noProof="0">
              <a:ln>
                <a:noFill/>
              </a:ln>
              <a:solidFill>
                <a:srgbClr val="FFFFFF"/>
              </a:solidFill>
              <a:effectLst/>
              <a:uLnTx/>
              <a:uFillTx/>
              <a:latin typeface="IBM Plex Sans"/>
              <a:sym typeface="IBM Plex Sans"/>
            </a:endParaRPr>
          </a:p>
        </p:txBody>
      </p:sp>
      <p:sp>
        <p:nvSpPr>
          <p:cNvPr id="1322" name="Goals:…"/>
          <p:cNvSpPr txBox="1"/>
          <p:nvPr/>
        </p:nvSpPr>
        <p:spPr>
          <a:xfrm>
            <a:off x="823730" y="2857054"/>
            <a:ext cx="10854522" cy="10414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2800" b="1">
                <a:solidFill>
                  <a:srgbClr val="0F62FE"/>
                </a:solidFill>
                <a:latin typeface="IBM Plex Sans"/>
                <a:ea typeface="IBM Plex Sans"/>
                <a:cs typeface="IBM Plex Sans"/>
                <a:sym typeface="IBM Plex Sans"/>
              </a:defRPr>
            </a:pPr>
            <a:r>
              <a:rPr kumimoji="0" sz="2800" b="1" i="0" u="none" strike="noStrike" kern="0" cap="none" spc="0" normalizeH="0" baseline="0" noProof="0">
                <a:ln>
                  <a:noFill/>
                </a:ln>
                <a:solidFill>
                  <a:srgbClr val="0F62FE"/>
                </a:solidFill>
                <a:effectLst/>
                <a:uLnTx/>
                <a:uFillTx/>
                <a:latin typeface="IBM Plex Sans"/>
                <a:sym typeface="IBM Plex Sans"/>
              </a:rPr>
              <a:t>Goals: </a:t>
            </a:r>
          </a:p>
          <a:p>
            <a:pPr marL="0" marR="0" lvl="0" indent="0" algn="l" defTabSz="2438338" rtl="0" eaLnBrk="1" fontAlgn="auto" latinLnBrk="0" hangingPunct="0">
              <a:lnSpc>
                <a:spcPct val="100000"/>
              </a:lnSpc>
              <a:spcBef>
                <a:spcPts val="0"/>
              </a:spcBef>
              <a:spcAft>
                <a:spcPts val="0"/>
              </a:spcAft>
              <a:buClrTx/>
              <a:buSzTx/>
              <a:buFontTx/>
              <a:buNone/>
              <a:tabLst/>
              <a:defRPr sz="2800">
                <a:solidFill>
                  <a:srgbClr val="000000"/>
                </a:solidFill>
                <a:latin typeface="IBM Plex Sans"/>
                <a:ea typeface="IBM Plex Sans"/>
                <a:cs typeface="IBM Plex Sans"/>
                <a:sym typeface="IBM Plex Sans"/>
              </a:defRPr>
            </a:pPr>
            <a:r>
              <a:rPr kumimoji="0" sz="2800" b="0" i="0" u="none" strike="noStrike" kern="0" cap="none" spc="0" normalizeH="0" baseline="0" noProof="0">
                <a:ln>
                  <a:noFill/>
                </a:ln>
                <a:solidFill>
                  <a:srgbClr val="000000"/>
                </a:solidFill>
                <a:effectLst/>
                <a:uLnTx/>
                <a:uFillTx/>
                <a:latin typeface="IBM Plex Sans"/>
                <a:sym typeface="IBM Plex Sans"/>
              </a:rPr>
              <a:t>What do you want to achieve with your IBM entitlements?</a:t>
            </a:r>
          </a:p>
        </p:txBody>
      </p:sp>
      <p:sp>
        <p:nvSpPr>
          <p:cNvPr id="1323" name="Working well:…"/>
          <p:cNvSpPr txBox="1"/>
          <p:nvPr/>
        </p:nvSpPr>
        <p:spPr>
          <a:xfrm>
            <a:off x="13008134" y="2857054"/>
            <a:ext cx="10669510" cy="10414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2800" b="1">
                <a:solidFill>
                  <a:srgbClr val="0F62FE"/>
                </a:solidFill>
                <a:latin typeface="IBM Plex Sans"/>
                <a:ea typeface="IBM Plex Sans"/>
                <a:cs typeface="IBM Plex Sans"/>
                <a:sym typeface="IBM Plex Sans"/>
              </a:defRPr>
            </a:pPr>
            <a:r>
              <a:rPr kumimoji="0" sz="2800" b="1" i="0" u="none" strike="noStrike" kern="0" cap="none" spc="0" normalizeH="0" baseline="0" noProof="0">
                <a:ln>
                  <a:noFill/>
                </a:ln>
                <a:solidFill>
                  <a:srgbClr val="0F62FE"/>
                </a:solidFill>
                <a:effectLst/>
                <a:uLnTx/>
                <a:uFillTx/>
                <a:latin typeface="IBM Plex Sans"/>
                <a:sym typeface="IBM Plex Sans"/>
              </a:rPr>
              <a:t>Working well: </a:t>
            </a:r>
          </a:p>
          <a:p>
            <a:pPr marL="0" marR="0" lvl="0" indent="0" algn="l" defTabSz="2438338" rtl="0" eaLnBrk="1" fontAlgn="auto" latinLnBrk="0" hangingPunct="0">
              <a:lnSpc>
                <a:spcPct val="100000"/>
              </a:lnSpc>
              <a:spcBef>
                <a:spcPts val="0"/>
              </a:spcBef>
              <a:spcAft>
                <a:spcPts val="0"/>
              </a:spcAft>
              <a:buClrTx/>
              <a:buSzTx/>
              <a:buFontTx/>
              <a:buNone/>
              <a:tabLst/>
              <a:defRPr sz="2800">
                <a:solidFill>
                  <a:srgbClr val="000000"/>
                </a:solidFill>
                <a:latin typeface="IBM Plex Sans"/>
                <a:ea typeface="IBM Plex Sans"/>
                <a:cs typeface="IBM Plex Sans"/>
                <a:sym typeface="IBM Plex Sans"/>
              </a:defRPr>
            </a:pPr>
            <a:r>
              <a:rPr kumimoji="0" sz="2800" b="0" i="0" u="none" strike="noStrike" kern="0" cap="none" spc="0" normalizeH="0" baseline="0" noProof="0">
                <a:ln>
                  <a:noFill/>
                </a:ln>
                <a:solidFill>
                  <a:srgbClr val="000000"/>
                </a:solidFill>
                <a:effectLst/>
                <a:uLnTx/>
                <a:uFillTx/>
                <a:latin typeface="IBM Plex Sans"/>
                <a:sym typeface="IBM Plex Sans"/>
              </a:rPr>
              <a:t>What's working well with your entitlements?</a:t>
            </a:r>
          </a:p>
        </p:txBody>
      </p:sp>
      <p:sp>
        <p:nvSpPr>
          <p:cNvPr id="1324" name="Your current IBM entitlements"/>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sz="6400" b="0" i="0" u="none" strike="noStrike" kern="0" cap="none" spc="0" normalizeH="0" baseline="0" noProof="0">
                <a:ln>
                  <a:noFill/>
                </a:ln>
                <a:solidFill>
                  <a:srgbClr val="000000"/>
                </a:solidFill>
                <a:effectLst/>
                <a:uLnTx/>
                <a:uFillTx/>
                <a:latin typeface="IBM Plex Sans"/>
                <a:sym typeface="IBM Plex Sans"/>
              </a:rPr>
              <a:t>Your current IBM entitlements</a:t>
            </a:r>
          </a:p>
        </p:txBody>
      </p:sp>
      <p:sp>
        <p:nvSpPr>
          <p:cNvPr id="1325" name="Goal"/>
          <p:cNvSpPr/>
          <p:nvPr/>
        </p:nvSpPr>
        <p:spPr>
          <a:xfrm>
            <a:off x="3663219" y="4454766"/>
            <a:ext cx="2286001" cy="2286001"/>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26" name="Goal"/>
          <p:cNvSpPr/>
          <p:nvPr/>
        </p:nvSpPr>
        <p:spPr>
          <a:xfrm>
            <a:off x="6287338" y="4454766"/>
            <a:ext cx="2286001" cy="2286001"/>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27" name="Goal"/>
          <p:cNvSpPr/>
          <p:nvPr/>
        </p:nvSpPr>
        <p:spPr>
          <a:xfrm>
            <a:off x="8911456" y="4454766"/>
            <a:ext cx="2286001" cy="2286001"/>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28" name="[Fill in with what you know about the customer’s goals.]"/>
          <p:cNvSpPr/>
          <p:nvPr/>
        </p:nvSpPr>
        <p:spPr>
          <a:xfrm>
            <a:off x="1039101" y="4456643"/>
            <a:ext cx="2286001" cy="2286001"/>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Fill in with what you know about the customer’s goals.]</a:t>
            </a:r>
          </a:p>
        </p:txBody>
      </p:sp>
      <p:sp>
        <p:nvSpPr>
          <p:cNvPr id="1329" name="Goal"/>
          <p:cNvSpPr/>
          <p:nvPr/>
        </p:nvSpPr>
        <p:spPr>
          <a:xfrm>
            <a:off x="1039101" y="7122918"/>
            <a:ext cx="2286001" cy="2286001"/>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0" name="Goal"/>
          <p:cNvSpPr/>
          <p:nvPr/>
        </p:nvSpPr>
        <p:spPr>
          <a:xfrm>
            <a:off x="3663219" y="7126445"/>
            <a:ext cx="2286001" cy="2286001"/>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1" name="Goal"/>
          <p:cNvSpPr/>
          <p:nvPr/>
        </p:nvSpPr>
        <p:spPr>
          <a:xfrm>
            <a:off x="6287338" y="7122918"/>
            <a:ext cx="2286001" cy="2286001"/>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2" name="Goal"/>
          <p:cNvSpPr/>
          <p:nvPr/>
        </p:nvSpPr>
        <p:spPr>
          <a:xfrm>
            <a:off x="8911456" y="7122918"/>
            <a:ext cx="2286001" cy="2286001"/>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3" name="Goal"/>
          <p:cNvSpPr/>
          <p:nvPr/>
        </p:nvSpPr>
        <p:spPr>
          <a:xfrm>
            <a:off x="1039101" y="9787316"/>
            <a:ext cx="2286001" cy="2286001"/>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4" name="Goal"/>
          <p:cNvSpPr/>
          <p:nvPr/>
        </p:nvSpPr>
        <p:spPr>
          <a:xfrm>
            <a:off x="3663219" y="9790843"/>
            <a:ext cx="2286001" cy="2286001"/>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5" name="Goal"/>
          <p:cNvSpPr/>
          <p:nvPr/>
        </p:nvSpPr>
        <p:spPr>
          <a:xfrm>
            <a:off x="6287338" y="9787316"/>
            <a:ext cx="2286001" cy="2286001"/>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6" name="Goal"/>
          <p:cNvSpPr/>
          <p:nvPr/>
        </p:nvSpPr>
        <p:spPr>
          <a:xfrm>
            <a:off x="8911456" y="9787316"/>
            <a:ext cx="2286001" cy="2286001"/>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7" name="+"/>
          <p:cNvSpPr/>
          <p:nvPr/>
        </p:nvSpPr>
        <p:spPr>
          <a:xfrm>
            <a:off x="15834636" y="4454766"/>
            <a:ext cx="2286001" cy="2286001"/>
          </a:xfrm>
          <a:prstGeom prst="rect">
            <a:avLst/>
          </a:prstGeom>
          <a:solidFill>
            <a:srgbClr val="9EF0F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38" name="+"/>
          <p:cNvSpPr/>
          <p:nvPr/>
        </p:nvSpPr>
        <p:spPr>
          <a:xfrm>
            <a:off x="18458755" y="4454766"/>
            <a:ext cx="2286001" cy="2286001"/>
          </a:xfrm>
          <a:prstGeom prst="rect">
            <a:avLst/>
          </a:prstGeom>
          <a:solidFill>
            <a:srgbClr val="9EF0F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39" name="+"/>
          <p:cNvSpPr/>
          <p:nvPr/>
        </p:nvSpPr>
        <p:spPr>
          <a:xfrm>
            <a:off x="21082872" y="4454766"/>
            <a:ext cx="2286001" cy="2286001"/>
          </a:xfrm>
          <a:prstGeom prst="rect">
            <a:avLst/>
          </a:prstGeom>
          <a:solidFill>
            <a:srgbClr val="9EF0F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0" name="+"/>
          <p:cNvSpPr/>
          <p:nvPr/>
        </p:nvSpPr>
        <p:spPr>
          <a:xfrm>
            <a:off x="13210517" y="4456643"/>
            <a:ext cx="2286001" cy="2286001"/>
          </a:xfrm>
          <a:prstGeom prst="rect">
            <a:avLst/>
          </a:prstGeom>
          <a:solidFill>
            <a:srgbClr val="9EF0F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1" name="+"/>
          <p:cNvSpPr/>
          <p:nvPr/>
        </p:nvSpPr>
        <p:spPr>
          <a:xfrm>
            <a:off x="13210517" y="7122918"/>
            <a:ext cx="2286001" cy="2286001"/>
          </a:xfrm>
          <a:prstGeom prst="rect">
            <a:avLst/>
          </a:prstGeom>
          <a:solidFill>
            <a:srgbClr val="9EF0F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2" name="+"/>
          <p:cNvSpPr/>
          <p:nvPr/>
        </p:nvSpPr>
        <p:spPr>
          <a:xfrm>
            <a:off x="15834636" y="7126445"/>
            <a:ext cx="2286001" cy="2286001"/>
          </a:xfrm>
          <a:prstGeom prst="rect">
            <a:avLst/>
          </a:prstGeom>
          <a:solidFill>
            <a:srgbClr val="9EF0F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3" name="+"/>
          <p:cNvSpPr/>
          <p:nvPr/>
        </p:nvSpPr>
        <p:spPr>
          <a:xfrm>
            <a:off x="18458755" y="7122918"/>
            <a:ext cx="2286001" cy="2286001"/>
          </a:xfrm>
          <a:prstGeom prst="rect">
            <a:avLst/>
          </a:prstGeom>
          <a:solidFill>
            <a:srgbClr val="9EF0F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4" name="+"/>
          <p:cNvSpPr/>
          <p:nvPr/>
        </p:nvSpPr>
        <p:spPr>
          <a:xfrm>
            <a:off x="21082872" y="7122918"/>
            <a:ext cx="2286001" cy="2286001"/>
          </a:xfrm>
          <a:prstGeom prst="rect">
            <a:avLst/>
          </a:prstGeom>
          <a:solidFill>
            <a:srgbClr val="9EF0F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5" name="+"/>
          <p:cNvSpPr/>
          <p:nvPr/>
        </p:nvSpPr>
        <p:spPr>
          <a:xfrm>
            <a:off x="13210517" y="9787316"/>
            <a:ext cx="2286001" cy="2286001"/>
          </a:xfrm>
          <a:prstGeom prst="rect">
            <a:avLst/>
          </a:prstGeom>
          <a:solidFill>
            <a:srgbClr val="9EF0F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6" name="+"/>
          <p:cNvSpPr/>
          <p:nvPr/>
        </p:nvSpPr>
        <p:spPr>
          <a:xfrm>
            <a:off x="15834636" y="9790843"/>
            <a:ext cx="2286001" cy="2286001"/>
          </a:xfrm>
          <a:prstGeom prst="rect">
            <a:avLst/>
          </a:prstGeom>
          <a:solidFill>
            <a:srgbClr val="9EF0F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7" name="+"/>
          <p:cNvSpPr/>
          <p:nvPr/>
        </p:nvSpPr>
        <p:spPr>
          <a:xfrm>
            <a:off x="18458755" y="9787316"/>
            <a:ext cx="2286001" cy="2286001"/>
          </a:xfrm>
          <a:prstGeom prst="rect">
            <a:avLst/>
          </a:prstGeom>
          <a:solidFill>
            <a:srgbClr val="9EF0F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8" name="+"/>
          <p:cNvSpPr/>
          <p:nvPr/>
        </p:nvSpPr>
        <p:spPr>
          <a:xfrm>
            <a:off x="21082872" y="9787316"/>
            <a:ext cx="2286001" cy="2286001"/>
          </a:xfrm>
          <a:prstGeom prst="rect">
            <a:avLst/>
          </a:prstGeom>
          <a:solidFill>
            <a:srgbClr val="9EF0F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9" name="Star"/>
          <p:cNvSpPr/>
          <p:nvPr/>
        </p:nvSpPr>
        <p:spPr>
          <a:xfrm>
            <a:off x="19262729" y="343107"/>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350" name="Note to CSMer…"/>
          <p:cNvSpPr txBox="1"/>
          <p:nvPr/>
        </p:nvSpPr>
        <p:spPr>
          <a:xfrm>
            <a:off x="20110251" y="1360137"/>
            <a:ext cx="2490471" cy="2540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400" b="1" i="0" u="none" strike="noStrike" kern="0" cap="none" spc="0" normalizeH="0" baseline="0" noProof="0">
                <a:ln>
                  <a:noFill/>
                </a:ln>
                <a:solidFill>
                  <a:srgbClr val="FFFFFF"/>
                </a:solidFill>
                <a:effectLst/>
                <a:uLnTx/>
                <a:uFillTx/>
                <a:latin typeface="IBM Plex Sans"/>
                <a:sym typeface="IBM Plex Sans"/>
              </a:rPr>
              <a:t>Note to CSMer</a:t>
            </a:r>
            <a:endParaRPr kumimoji="0" sz="2400" b="0" i="0" u="none" strike="noStrike" kern="0" cap="none" spc="0" normalizeH="0" baseline="0" noProof="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400" b="0" i="0" u="none" strike="noStrike" kern="0" cap="none" spc="0" normalizeH="0" baseline="0" noProof="0">
                <a:ln>
                  <a:noFill/>
                </a:ln>
                <a:solidFill>
                  <a:srgbClr val="FFFFFF"/>
                </a:solidFill>
                <a:effectLst/>
                <a:uLnTx/>
                <a:uFillTx/>
                <a:latin typeface="IBM Plex Sans"/>
                <a:sym typeface="IBM Plex Sans"/>
              </a:rPr>
              <a:t>Pre-fill this with what you know and then update with the customer.</a:t>
            </a:r>
          </a:p>
        </p:txBody>
      </p:sp>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4" name="Slide Number"/>
          <p:cNvSpPr txBox="1">
            <a:spLocks noGrp="1"/>
          </p:cNvSpPr>
          <p:nvPr>
            <p:ph type="sldNum" sz="quarter" idx="2"/>
          </p:nvPr>
        </p:nvSpPr>
        <p:spPr>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marL="0" marR="0" lvl="0" indent="0" algn="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sz="2400" b="0" i="0" u="none" strike="noStrike" kern="0" cap="none" spc="0" normalizeH="0" baseline="0" noProof="0">
                <a:ln>
                  <a:noFill/>
                </a:ln>
                <a:solidFill>
                  <a:srgbClr val="FFFFFF"/>
                </a:solidFill>
                <a:effectLst/>
                <a:uLnTx/>
                <a:uFillTx/>
                <a:latin typeface="IBM Plex Sans"/>
                <a:sym typeface="IBM Plex Sans"/>
              </a:rPr>
              <a:pPr marL="0" marR="0" lvl="0" indent="0" algn="r" defTabSz="584200" rtl="0" eaLnBrk="1" fontAlgn="auto" latinLnBrk="0" hangingPunct="0">
                <a:lnSpc>
                  <a:spcPct val="100000"/>
                </a:lnSpc>
                <a:spcBef>
                  <a:spcPts val="0"/>
                </a:spcBef>
                <a:spcAft>
                  <a:spcPts val="0"/>
                </a:spcAft>
                <a:buClrTx/>
                <a:buSzTx/>
                <a:buFontTx/>
                <a:buNone/>
                <a:tabLst/>
                <a:defRPr/>
              </a:pPr>
              <a:t>17</a:t>
            </a:fld>
            <a:endParaRPr kumimoji="0" sz="2400" b="0" i="0" u="none" strike="noStrike" kern="0" cap="none" spc="0" normalizeH="0" baseline="0" noProof="0">
              <a:ln>
                <a:noFill/>
              </a:ln>
              <a:solidFill>
                <a:srgbClr val="FFFFFF"/>
              </a:solidFill>
              <a:effectLst/>
              <a:uLnTx/>
              <a:uFillTx/>
              <a:latin typeface="IBM Plex Sans"/>
              <a:sym typeface="IBM Plex Sans"/>
            </a:endParaRPr>
          </a:p>
        </p:txBody>
      </p:sp>
      <p:sp>
        <p:nvSpPr>
          <p:cNvPr id="1355" name="Your current IBM entitlements"/>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sz="6400" b="0" i="0" u="none" strike="noStrike" kern="0" cap="none" spc="0" normalizeH="0" baseline="0" noProof="0">
                <a:ln>
                  <a:noFill/>
                </a:ln>
                <a:solidFill>
                  <a:srgbClr val="000000"/>
                </a:solidFill>
                <a:effectLst/>
                <a:uLnTx/>
                <a:uFillTx/>
                <a:latin typeface="IBM Plex Sans"/>
                <a:sym typeface="IBM Plex Sans"/>
              </a:rPr>
              <a:t>Your current IBM entitlements</a:t>
            </a:r>
          </a:p>
        </p:txBody>
      </p:sp>
      <p:sp>
        <p:nvSpPr>
          <p:cNvPr id="1356" name="Rectangle"/>
          <p:cNvSpPr/>
          <p:nvPr/>
        </p:nvSpPr>
        <p:spPr>
          <a:xfrm>
            <a:off x="12817634" y="2805036"/>
            <a:ext cx="10970097" cy="9500060"/>
          </a:xfrm>
          <a:prstGeom prst="rect">
            <a:avLst/>
          </a:prstGeom>
          <a:solidFill>
            <a:srgbClr val="FFFFFF"/>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357" name="Rectangle"/>
          <p:cNvSpPr/>
          <p:nvPr/>
        </p:nvSpPr>
        <p:spPr>
          <a:xfrm>
            <a:off x="633230" y="2805036"/>
            <a:ext cx="10970098" cy="9500060"/>
          </a:xfrm>
          <a:prstGeom prst="rect">
            <a:avLst/>
          </a:prstGeom>
          <a:solidFill>
            <a:srgbClr val="FFFFFF"/>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358" name="Not working well:…"/>
          <p:cNvSpPr txBox="1"/>
          <p:nvPr/>
        </p:nvSpPr>
        <p:spPr>
          <a:xfrm>
            <a:off x="823730" y="2857054"/>
            <a:ext cx="10854522" cy="10414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2800" b="1">
                <a:solidFill>
                  <a:srgbClr val="0F62FE"/>
                </a:solidFill>
                <a:latin typeface="IBM Plex Sans"/>
                <a:ea typeface="IBM Plex Sans"/>
                <a:cs typeface="IBM Plex Sans"/>
                <a:sym typeface="IBM Plex Sans"/>
              </a:defRPr>
            </a:pPr>
            <a:r>
              <a:rPr kumimoji="0" sz="2800" b="1" i="0" u="none" strike="noStrike" kern="0" cap="none" spc="0" normalizeH="0" baseline="0" noProof="0">
                <a:ln>
                  <a:noFill/>
                </a:ln>
                <a:solidFill>
                  <a:srgbClr val="0F62FE"/>
                </a:solidFill>
                <a:effectLst/>
                <a:uLnTx/>
                <a:uFillTx/>
                <a:latin typeface="IBM Plex Sans"/>
                <a:sym typeface="IBM Plex Sans"/>
              </a:rPr>
              <a:t>Not working well: </a:t>
            </a:r>
          </a:p>
          <a:p>
            <a:pPr marL="0" marR="0" lvl="0" indent="0" algn="l" defTabSz="2438338" rtl="0" eaLnBrk="1" fontAlgn="auto" latinLnBrk="0" hangingPunct="0">
              <a:lnSpc>
                <a:spcPct val="100000"/>
              </a:lnSpc>
              <a:spcBef>
                <a:spcPts val="0"/>
              </a:spcBef>
              <a:spcAft>
                <a:spcPts val="0"/>
              </a:spcAft>
              <a:buClrTx/>
              <a:buSzTx/>
              <a:buFontTx/>
              <a:buNone/>
              <a:tabLst/>
              <a:defRPr sz="2800">
                <a:solidFill>
                  <a:srgbClr val="000000"/>
                </a:solidFill>
                <a:latin typeface="IBM Plex Sans"/>
                <a:ea typeface="IBM Plex Sans"/>
                <a:cs typeface="IBM Plex Sans"/>
                <a:sym typeface="IBM Plex Sans"/>
              </a:defRPr>
            </a:pPr>
            <a:r>
              <a:rPr kumimoji="0" sz="2800" b="0" i="0" u="none" strike="noStrike" kern="0" cap="none" spc="0" normalizeH="0" baseline="0" noProof="0">
                <a:ln>
                  <a:noFill/>
                </a:ln>
                <a:solidFill>
                  <a:srgbClr val="000000"/>
                </a:solidFill>
                <a:effectLst/>
                <a:uLnTx/>
                <a:uFillTx/>
                <a:latin typeface="IBM Plex Sans"/>
                <a:sym typeface="IBM Plex Sans"/>
              </a:rPr>
              <a:t>What challenges are you having with your entitlements?</a:t>
            </a:r>
          </a:p>
        </p:txBody>
      </p:sp>
      <p:sp>
        <p:nvSpPr>
          <p:cNvPr id="1359" name="IBM Help:…"/>
          <p:cNvSpPr txBox="1"/>
          <p:nvPr/>
        </p:nvSpPr>
        <p:spPr>
          <a:xfrm>
            <a:off x="13008134" y="2857054"/>
            <a:ext cx="10669510" cy="15113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2800" b="1">
                <a:solidFill>
                  <a:srgbClr val="0F62FE"/>
                </a:solidFill>
                <a:latin typeface="IBM Plex Sans"/>
                <a:ea typeface="IBM Plex Sans"/>
                <a:cs typeface="IBM Plex Sans"/>
                <a:sym typeface="IBM Plex Sans"/>
              </a:defRPr>
            </a:pPr>
            <a:r>
              <a:rPr kumimoji="0" sz="2800" b="1" i="0" u="none" strike="noStrike" kern="0" cap="none" spc="0" normalizeH="0" baseline="0" noProof="0">
                <a:ln>
                  <a:noFill/>
                </a:ln>
                <a:solidFill>
                  <a:srgbClr val="0F62FE"/>
                </a:solidFill>
                <a:effectLst/>
                <a:uLnTx/>
                <a:uFillTx/>
                <a:latin typeface="IBM Plex Sans"/>
                <a:sym typeface="IBM Plex Sans"/>
              </a:rPr>
              <a:t>IBM Help: </a:t>
            </a:r>
          </a:p>
          <a:p>
            <a:pPr marL="0" marR="0" lvl="0" indent="0" algn="l" defTabSz="2438338" rtl="0" eaLnBrk="1" fontAlgn="auto" latinLnBrk="0" hangingPunct="0">
              <a:lnSpc>
                <a:spcPct val="100000"/>
              </a:lnSpc>
              <a:spcBef>
                <a:spcPts val="0"/>
              </a:spcBef>
              <a:spcAft>
                <a:spcPts val="0"/>
              </a:spcAft>
              <a:buClrTx/>
              <a:buSzTx/>
              <a:buFontTx/>
              <a:buNone/>
              <a:tabLst/>
              <a:defRPr sz="2800">
                <a:solidFill>
                  <a:srgbClr val="000000"/>
                </a:solidFill>
                <a:latin typeface="IBM Plex Sans"/>
                <a:ea typeface="IBM Plex Sans"/>
                <a:cs typeface="IBM Plex Sans"/>
                <a:sym typeface="IBM Plex Sans"/>
              </a:defRPr>
            </a:pPr>
            <a:r>
              <a:rPr kumimoji="0" sz="2800" b="0" i="0" u="none" strike="noStrike" kern="0" cap="none" spc="0" normalizeH="0" baseline="0" noProof="0">
                <a:ln>
                  <a:noFill/>
                </a:ln>
                <a:solidFill>
                  <a:srgbClr val="000000"/>
                </a:solidFill>
                <a:effectLst/>
                <a:uLnTx/>
                <a:uFillTx/>
                <a:latin typeface="IBM Plex Sans"/>
                <a:sym typeface="IBM Plex Sans"/>
              </a:rPr>
              <a:t>How can IBM help you with your challenges? </a:t>
            </a:r>
            <a:br>
              <a:rPr kumimoji="0" sz="2800" b="0" i="0" u="none" strike="noStrike" kern="0" cap="none" spc="0" normalizeH="0" baseline="0" noProof="0">
                <a:ln>
                  <a:noFill/>
                </a:ln>
                <a:solidFill>
                  <a:srgbClr val="000000"/>
                </a:solidFill>
                <a:effectLst/>
                <a:uLnTx/>
                <a:uFillTx/>
                <a:latin typeface="IBM Plex Sans"/>
                <a:sym typeface="IBM Plex Sans"/>
              </a:rPr>
            </a:br>
            <a:r>
              <a:rPr kumimoji="0" sz="2800" b="0" i="0" u="none" strike="noStrike" kern="0" cap="none" spc="0" normalizeH="0" baseline="0" noProof="0">
                <a:ln>
                  <a:noFill/>
                </a:ln>
                <a:solidFill>
                  <a:srgbClr val="000000"/>
                </a:solidFill>
                <a:effectLst/>
                <a:uLnTx/>
                <a:uFillTx/>
                <a:latin typeface="IBM Plex Sans"/>
                <a:sym typeface="IBM Plex Sans"/>
              </a:rPr>
              <a:t>(Use suggestions from the IBM CSM Tool Kit as needed.)</a:t>
            </a:r>
          </a:p>
        </p:txBody>
      </p:sp>
      <p:sp>
        <p:nvSpPr>
          <p:cNvPr id="1360" name="-"/>
          <p:cNvSpPr/>
          <p:nvPr/>
        </p:nvSpPr>
        <p:spPr>
          <a:xfrm>
            <a:off x="3663219" y="4454766"/>
            <a:ext cx="2286001" cy="2286001"/>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1" name="-"/>
          <p:cNvSpPr/>
          <p:nvPr/>
        </p:nvSpPr>
        <p:spPr>
          <a:xfrm>
            <a:off x="6287338" y="4454766"/>
            <a:ext cx="2286001" cy="2286001"/>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2" name="-"/>
          <p:cNvSpPr/>
          <p:nvPr/>
        </p:nvSpPr>
        <p:spPr>
          <a:xfrm>
            <a:off x="8911456" y="4454766"/>
            <a:ext cx="2286001" cy="2286001"/>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3" name="-"/>
          <p:cNvSpPr/>
          <p:nvPr/>
        </p:nvSpPr>
        <p:spPr>
          <a:xfrm>
            <a:off x="1039101" y="4456643"/>
            <a:ext cx="2286001" cy="2286001"/>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4" name="-"/>
          <p:cNvSpPr/>
          <p:nvPr/>
        </p:nvSpPr>
        <p:spPr>
          <a:xfrm>
            <a:off x="1039101" y="7122918"/>
            <a:ext cx="2286001" cy="2286001"/>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5" name="-"/>
          <p:cNvSpPr/>
          <p:nvPr/>
        </p:nvSpPr>
        <p:spPr>
          <a:xfrm>
            <a:off x="3663219" y="7126445"/>
            <a:ext cx="2286001" cy="2286001"/>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6" name="-"/>
          <p:cNvSpPr/>
          <p:nvPr/>
        </p:nvSpPr>
        <p:spPr>
          <a:xfrm>
            <a:off x="6287338" y="7122918"/>
            <a:ext cx="2286001" cy="2286001"/>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7" name="-"/>
          <p:cNvSpPr/>
          <p:nvPr/>
        </p:nvSpPr>
        <p:spPr>
          <a:xfrm>
            <a:off x="8911456" y="7122918"/>
            <a:ext cx="2286001" cy="2286001"/>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8" name="-"/>
          <p:cNvSpPr/>
          <p:nvPr/>
        </p:nvSpPr>
        <p:spPr>
          <a:xfrm>
            <a:off x="1039101" y="9787316"/>
            <a:ext cx="2286001" cy="2286001"/>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9" name="-"/>
          <p:cNvSpPr/>
          <p:nvPr/>
        </p:nvSpPr>
        <p:spPr>
          <a:xfrm>
            <a:off x="3663219" y="9790843"/>
            <a:ext cx="2286001" cy="2286001"/>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70" name="-"/>
          <p:cNvSpPr/>
          <p:nvPr/>
        </p:nvSpPr>
        <p:spPr>
          <a:xfrm>
            <a:off x="6287338" y="9787316"/>
            <a:ext cx="2286001" cy="2286001"/>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71" name="-"/>
          <p:cNvSpPr/>
          <p:nvPr/>
        </p:nvSpPr>
        <p:spPr>
          <a:xfrm>
            <a:off x="8911456" y="9787316"/>
            <a:ext cx="2286001" cy="2286001"/>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72" name="Conduct a Framing Workshop to explore additional opportunities"/>
          <p:cNvSpPr/>
          <p:nvPr/>
        </p:nvSpPr>
        <p:spPr>
          <a:xfrm>
            <a:off x="15834636" y="4454766"/>
            <a:ext cx="2286001" cy="2286001"/>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Conduct a Framing Workshop to explore additional opportunities</a:t>
            </a:r>
          </a:p>
        </p:txBody>
      </p:sp>
      <p:sp>
        <p:nvSpPr>
          <p:cNvPr id="1373" name="Conduct a Technical Discovery Workshop"/>
          <p:cNvSpPr/>
          <p:nvPr/>
        </p:nvSpPr>
        <p:spPr>
          <a:xfrm>
            <a:off x="18458755" y="4454766"/>
            <a:ext cx="2286001" cy="2286001"/>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Conduct a Technical Discovery Workshop</a:t>
            </a:r>
          </a:p>
        </p:txBody>
      </p:sp>
      <p:sp>
        <p:nvSpPr>
          <p:cNvPr id="1374" name="Conduct a Modernization Workshop"/>
          <p:cNvSpPr/>
          <p:nvPr/>
        </p:nvSpPr>
        <p:spPr>
          <a:xfrm>
            <a:off x="21082872" y="4454766"/>
            <a:ext cx="2286001" cy="2286001"/>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Conduct a Modernization Workshop</a:t>
            </a:r>
          </a:p>
        </p:txBody>
      </p:sp>
      <p:sp>
        <p:nvSpPr>
          <p:cNvPr id="1375" name="Co-create solutions to accelerate time to value"/>
          <p:cNvSpPr/>
          <p:nvPr/>
        </p:nvSpPr>
        <p:spPr>
          <a:xfrm>
            <a:off x="13210517" y="4456643"/>
            <a:ext cx="2286001" cy="2286001"/>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Co-create solutions to accelerate time to value</a:t>
            </a:r>
          </a:p>
        </p:txBody>
      </p:sp>
      <p:sp>
        <p:nvSpPr>
          <p:cNvPr id="1376" name="Provide demonstrations to your team"/>
          <p:cNvSpPr/>
          <p:nvPr/>
        </p:nvSpPr>
        <p:spPr>
          <a:xfrm>
            <a:off x="13210517" y="7122918"/>
            <a:ext cx="2286001" cy="2286001"/>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Provide demonstrations to your team</a:t>
            </a:r>
          </a:p>
        </p:txBody>
      </p:sp>
      <p:sp>
        <p:nvSpPr>
          <p:cNvPr id="1377" name="Validate architecture design"/>
          <p:cNvSpPr/>
          <p:nvPr/>
        </p:nvSpPr>
        <p:spPr>
          <a:xfrm>
            <a:off x="15834636" y="7126445"/>
            <a:ext cx="2286001" cy="2286001"/>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Validate architecture design </a:t>
            </a:r>
          </a:p>
        </p:txBody>
      </p:sp>
      <p:sp>
        <p:nvSpPr>
          <p:cNvPr id="1378" name="Knowledge transfer / best practices"/>
          <p:cNvSpPr/>
          <p:nvPr/>
        </p:nvSpPr>
        <p:spPr>
          <a:xfrm>
            <a:off x="18458755" y="7122918"/>
            <a:ext cx="2286001" cy="2286001"/>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Knowledge transfer / best practices</a:t>
            </a:r>
          </a:p>
        </p:txBody>
      </p:sp>
      <p:sp>
        <p:nvSpPr>
          <p:cNvPr id="1379" name="Option to help"/>
          <p:cNvSpPr/>
          <p:nvPr/>
        </p:nvSpPr>
        <p:spPr>
          <a:xfrm>
            <a:off x="21082872" y="7122918"/>
            <a:ext cx="2286001" cy="2286001"/>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0" name="Option to help"/>
          <p:cNvSpPr/>
          <p:nvPr/>
        </p:nvSpPr>
        <p:spPr>
          <a:xfrm>
            <a:off x="13210517" y="9787316"/>
            <a:ext cx="2286001" cy="2286001"/>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1" name="Option to help"/>
          <p:cNvSpPr/>
          <p:nvPr/>
        </p:nvSpPr>
        <p:spPr>
          <a:xfrm>
            <a:off x="15834636" y="9790843"/>
            <a:ext cx="2286001" cy="2286001"/>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2" name="Option to help"/>
          <p:cNvSpPr/>
          <p:nvPr/>
        </p:nvSpPr>
        <p:spPr>
          <a:xfrm>
            <a:off x="18458755" y="9787316"/>
            <a:ext cx="2286001" cy="2286001"/>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3" name="Option to help"/>
          <p:cNvSpPr/>
          <p:nvPr/>
        </p:nvSpPr>
        <p:spPr>
          <a:xfrm>
            <a:off x="21082872" y="9787316"/>
            <a:ext cx="2286001" cy="2286001"/>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4" name="Star"/>
          <p:cNvSpPr/>
          <p:nvPr/>
        </p:nvSpPr>
        <p:spPr>
          <a:xfrm>
            <a:off x="19262729" y="343107"/>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385" name="Note to CSMer…"/>
          <p:cNvSpPr txBox="1"/>
          <p:nvPr/>
        </p:nvSpPr>
        <p:spPr>
          <a:xfrm>
            <a:off x="20110251" y="1360137"/>
            <a:ext cx="2490471" cy="2540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400" b="1" i="0" u="none" strike="noStrike" kern="0" cap="none" spc="0" normalizeH="0" baseline="0" noProof="0" dirty="0">
                <a:ln>
                  <a:noFill/>
                </a:ln>
                <a:solidFill>
                  <a:srgbClr val="FFFFFF"/>
                </a:solidFill>
                <a:effectLst/>
                <a:uLnTx/>
                <a:uFillTx/>
                <a:latin typeface="IBM Plex Sans"/>
                <a:sym typeface="IBM Plex Sans"/>
              </a:rPr>
              <a:t>Note to </a:t>
            </a:r>
            <a:r>
              <a:rPr kumimoji="0" sz="2400" b="1" i="0" u="none" strike="noStrike" kern="0" cap="none" spc="0" normalizeH="0" baseline="0" noProof="0" dirty="0" err="1">
                <a:ln>
                  <a:noFill/>
                </a:ln>
                <a:solidFill>
                  <a:srgbClr val="FFFFFF"/>
                </a:solidFill>
                <a:effectLst/>
                <a:uLnTx/>
                <a:uFillTx/>
                <a:latin typeface="IBM Plex Sans"/>
                <a:sym typeface="IBM Plex Sans"/>
              </a:rPr>
              <a:t>CSMer</a:t>
            </a:r>
            <a:endParaRPr kumimoji="0" sz="2400" b="0" i="0" u="none" strike="noStrike" kern="0" cap="none" spc="0" normalizeH="0" baseline="0" noProof="0" dirty="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400" b="0" i="0" u="none" strike="noStrike" kern="0" cap="none" spc="0" normalizeH="0" baseline="0" noProof="0" dirty="0">
                <a:ln>
                  <a:noFill/>
                </a:ln>
                <a:solidFill>
                  <a:srgbClr val="FFFFFF"/>
                </a:solidFill>
                <a:effectLst/>
                <a:uLnTx/>
                <a:uFillTx/>
                <a:latin typeface="IBM Plex Sans"/>
                <a:sym typeface="IBM Plex Sans"/>
              </a:rPr>
              <a:t>Pre-fill this with what you know and then update with the customer.</a:t>
            </a:r>
          </a:p>
        </p:txBody>
      </p:sp>
      <p:sp>
        <p:nvSpPr>
          <p:cNvPr id="35" name="Star">
            <a:extLst>
              <a:ext uri="{FF2B5EF4-FFF2-40B4-BE49-F238E27FC236}">
                <a16:creationId xmlns:a16="http://schemas.microsoft.com/office/drawing/2014/main" id="{60FBFE99-3910-547E-C3F1-F7D83D159273}"/>
              </a:ext>
            </a:extLst>
          </p:cNvPr>
          <p:cNvSpPr/>
          <p:nvPr/>
        </p:nvSpPr>
        <p:spPr>
          <a:xfrm>
            <a:off x="13672408" y="-269205"/>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36" name="Note to CSMer…">
            <a:extLst>
              <a:ext uri="{FF2B5EF4-FFF2-40B4-BE49-F238E27FC236}">
                <a16:creationId xmlns:a16="http://schemas.microsoft.com/office/drawing/2014/main" id="{13AC3F61-E26C-EDC8-EA3B-79ABD45BB272}"/>
              </a:ext>
            </a:extLst>
          </p:cNvPr>
          <p:cNvSpPr txBox="1"/>
          <p:nvPr/>
        </p:nvSpPr>
        <p:spPr>
          <a:xfrm>
            <a:off x="14589400" y="837753"/>
            <a:ext cx="2490471" cy="26879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lang="en-AU" sz="2400" b="1" i="0" u="none" strike="noStrike" kern="0" cap="none" spc="0" normalizeH="0" baseline="0" noProof="0" dirty="0">
                <a:ln>
                  <a:noFill/>
                </a:ln>
                <a:solidFill>
                  <a:srgbClr val="FFFFFF"/>
                </a:solidFill>
                <a:effectLst/>
                <a:uLnTx/>
                <a:uFillTx/>
                <a:latin typeface="IBM Plex Sans"/>
                <a:sym typeface="IBM Plex Sans"/>
              </a:rPr>
              <a:t>Consolidate the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lang="en-AU" b="1" dirty="0">
                <a:solidFill>
                  <a:srgbClr val="FFFFFF"/>
                </a:solidFill>
                <a:latin typeface="IBM Plex Sans"/>
                <a:sym typeface="IBM Plex Sans"/>
              </a:rPr>
              <a:t>Enablement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lang="en-AU" b="1" dirty="0">
                <a:solidFill>
                  <a:srgbClr val="FFFFFF"/>
                </a:solidFill>
                <a:latin typeface="IBM Plex Sans"/>
                <a:sym typeface="IBM Plex Sans"/>
              </a:rPr>
              <a:t>Plan (Next steps)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lang="en-AU" b="1" dirty="0">
                <a:solidFill>
                  <a:srgbClr val="FFFFFF"/>
                </a:solidFill>
                <a:latin typeface="IBM Plex Sans"/>
                <a:sym typeface="IBM Plex Sans"/>
              </a:rPr>
              <a:t>Not the focus of the meeting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lang="en-AU" b="1" dirty="0">
                <a:solidFill>
                  <a:srgbClr val="FFFFFF"/>
                </a:solidFill>
                <a:latin typeface="IBM Plex Sans"/>
                <a:sym typeface="IBM Plex Sans"/>
              </a:rPr>
              <a:t>Outlook !</a:t>
            </a:r>
          </a:p>
        </p:txBody>
      </p:sp>
    </p:spTree>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1AD023D-0CAF-48FB-92D2-613B79F9FE1B}"/>
              </a:ext>
            </a:extLst>
          </p:cNvPr>
          <p:cNvSpPr/>
          <p:nvPr/>
        </p:nvSpPr>
        <p:spPr>
          <a:xfrm>
            <a:off x="24977546" y="106447"/>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1 - No engagemen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2 - Internal engagement only</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3 - Client &amp; IBM engagemen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4 - Hold your own meeting w/ clien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5 - Trusted Advisor to Client</a:t>
            </a:r>
          </a:p>
        </p:txBody>
      </p:sp>
      <p:graphicFrame>
        <p:nvGraphicFramePr>
          <p:cNvPr id="12" name="Table 12">
            <a:extLst>
              <a:ext uri="{FF2B5EF4-FFF2-40B4-BE49-F238E27FC236}">
                <a16:creationId xmlns:a16="http://schemas.microsoft.com/office/drawing/2014/main" id="{AB5FF948-2AF3-4386-89EB-1441886D5BAB}"/>
              </a:ext>
            </a:extLst>
          </p:cNvPr>
          <p:cNvGraphicFramePr>
            <a:graphicFrameLocks noGrp="1"/>
          </p:cNvGraphicFramePr>
          <p:nvPr/>
        </p:nvGraphicFramePr>
        <p:xfrm>
          <a:off x="4748054" y="8851968"/>
          <a:ext cx="17986865" cy="4037450"/>
        </p:xfrm>
        <a:graphic>
          <a:graphicData uri="http://schemas.openxmlformats.org/drawingml/2006/table">
            <a:tbl>
              <a:tblPr firstRow="1" bandRow="1">
                <a:tableStyleId>{72833802-FEF1-4C79-8D5D-14CF1EAF98D9}</a:tableStyleId>
              </a:tblPr>
              <a:tblGrid>
                <a:gridCol w="11124758">
                  <a:extLst>
                    <a:ext uri="{9D8B030D-6E8A-4147-A177-3AD203B41FA5}">
                      <a16:colId xmlns:a16="http://schemas.microsoft.com/office/drawing/2014/main" val="3687184174"/>
                    </a:ext>
                  </a:extLst>
                </a:gridCol>
                <a:gridCol w="6862107">
                  <a:extLst>
                    <a:ext uri="{9D8B030D-6E8A-4147-A177-3AD203B41FA5}">
                      <a16:colId xmlns:a16="http://schemas.microsoft.com/office/drawing/2014/main" val="2336347590"/>
                    </a:ext>
                  </a:extLst>
                </a:gridCol>
              </a:tblGrid>
              <a:tr h="599187">
                <a:tc>
                  <a:txBody>
                    <a:bodyPr/>
                    <a:lstStyle/>
                    <a:p>
                      <a:pPr lvl="0" algn="l">
                        <a:buNone/>
                      </a:pPr>
                      <a:r>
                        <a:rPr lang="en-US" sz="2800" b="1" dirty="0">
                          <a:solidFill>
                            <a:schemeClr val="bg1"/>
                          </a:solidFill>
                          <a:latin typeface="+mn-lt"/>
                        </a:rPr>
                        <a:t>Action Plan </a:t>
                      </a:r>
                    </a:p>
                  </a:txBody>
                  <a:tcPr marL="182880" marR="182880" marT="91440" marB="91440" anchor="ctr">
                    <a:solidFill>
                      <a:srgbClr val="0F62FE"/>
                    </a:solidFill>
                  </a:tcPr>
                </a:tc>
                <a:tc>
                  <a:txBody>
                    <a:bodyPr/>
                    <a:lstStyle/>
                    <a:p>
                      <a:pPr marL="0" marR="0" lvl="0" indent="0" algn="l" defTabSz="966828"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mn-lt"/>
                        </a:rPr>
                        <a:t>Risks </a:t>
                      </a:r>
                    </a:p>
                  </a:txBody>
                  <a:tcPr marL="182880" marR="182880" marT="91440" marB="91440" anchor="ctr">
                    <a:solidFill>
                      <a:srgbClr val="0F62FE"/>
                    </a:solidFill>
                  </a:tcPr>
                </a:tc>
                <a:extLst>
                  <a:ext uri="{0D108BD9-81ED-4DB2-BD59-A6C34878D82A}">
                    <a16:rowId xmlns:a16="http://schemas.microsoft.com/office/drawing/2014/main" val="3101948352"/>
                  </a:ext>
                </a:extLst>
              </a:tr>
              <a:tr h="1713925">
                <a:tc>
                  <a:txBody>
                    <a:bodyPr/>
                    <a:lstStyle/>
                    <a:p>
                      <a:pPr marL="228600" indent="-228600">
                        <a:buFont typeface="+mj-lt"/>
                        <a:buAutoNum type="arabicPeriod"/>
                      </a:pPr>
                      <a:r>
                        <a:rPr lang="en-US" sz="2400" dirty="0">
                          <a:latin typeface="IBM Plex Sans" panose="020B0503050203000203" pitchFamily="34" charset="0"/>
                        </a:rPr>
                        <a:t>…</a:t>
                      </a:r>
                    </a:p>
                    <a:p>
                      <a:pPr marL="228600" indent="-228600">
                        <a:buFont typeface="+mj-lt"/>
                        <a:buAutoNum type="arabicPeriod"/>
                      </a:pPr>
                      <a:r>
                        <a:rPr lang="en-US" sz="2400" dirty="0">
                          <a:latin typeface="IBM Plex Sans" panose="020B0503050203000203" pitchFamily="34" charset="0"/>
                        </a:rPr>
                        <a:t>…</a:t>
                      </a:r>
                    </a:p>
                    <a:p>
                      <a:pPr marL="228600" indent="-228600">
                        <a:buFont typeface="+mj-lt"/>
                        <a:buAutoNum type="arabicPeriod"/>
                      </a:pPr>
                      <a:r>
                        <a:rPr lang="en-US" sz="2400" dirty="0">
                          <a:latin typeface="IBM Plex Sans" panose="020B0503050203000203" pitchFamily="34" charset="0"/>
                        </a:rPr>
                        <a:t>…</a:t>
                      </a: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extLst>
                  <a:ext uri="{0D108BD9-81ED-4DB2-BD59-A6C34878D82A}">
                    <a16:rowId xmlns:a16="http://schemas.microsoft.com/office/drawing/2014/main" val="4212223845"/>
                  </a:ext>
                </a:extLst>
              </a:tr>
              <a:tr h="1713925">
                <a:tc gridSpan="2">
                  <a:txBody>
                    <a:bodyPr/>
                    <a:lstStyle/>
                    <a:p>
                      <a:pPr marL="0" indent="0">
                        <a:buFontTx/>
                        <a:buNone/>
                      </a:pPr>
                      <a:r>
                        <a:rPr lang="en-US" sz="2800" dirty="0">
                          <a:latin typeface="IBM Plex Sans" panose="020B0503050203000203" pitchFamily="34" charset="0"/>
                        </a:rPr>
                        <a:t>NEXT STEPS </a:t>
                      </a:r>
                    </a:p>
                  </a:txBody>
                  <a:tcPr marL="182880" marR="182880" marT="91440" marB="91440">
                    <a:solidFill>
                      <a:schemeClr val="bg1"/>
                    </a:solidFill>
                  </a:tcPr>
                </a:tc>
                <a:tc hMerge="1">
                  <a:txBody>
                    <a:bodyPr/>
                    <a:lstStyle/>
                    <a:p>
                      <a:endParaRPr lang="en-US" sz="1100" dirty="0">
                        <a:latin typeface="IBM Plex Sans" panose="020B0503050203000203" pitchFamily="34" charset="0"/>
                      </a:endParaRPr>
                    </a:p>
                  </a:txBody>
                  <a:tcPr>
                    <a:solidFill>
                      <a:schemeClr val="bg1"/>
                    </a:solidFill>
                  </a:tcPr>
                </a:tc>
                <a:extLst>
                  <a:ext uri="{0D108BD9-81ED-4DB2-BD59-A6C34878D82A}">
                    <a16:rowId xmlns:a16="http://schemas.microsoft.com/office/drawing/2014/main" val="2394350944"/>
                  </a:ext>
                </a:extLst>
              </a:tr>
            </a:tbl>
          </a:graphicData>
        </a:graphic>
      </p:graphicFrame>
      <p:sp>
        <p:nvSpPr>
          <p:cNvPr id="7" name="Title 6">
            <a:extLst>
              <a:ext uri="{FF2B5EF4-FFF2-40B4-BE49-F238E27FC236}">
                <a16:creationId xmlns:a16="http://schemas.microsoft.com/office/drawing/2014/main" id="{13C2E987-FE45-454B-9A2C-FA65354A4D36}"/>
              </a:ext>
            </a:extLst>
          </p:cNvPr>
          <p:cNvSpPr>
            <a:spLocks noGrp="1"/>
          </p:cNvSpPr>
          <p:nvPr>
            <p:ph type="title"/>
          </p:nvPr>
        </p:nvSpPr>
        <p:spPr>
          <a:xfrm>
            <a:off x="153110" y="339423"/>
            <a:ext cx="21728516" cy="1093710"/>
          </a:xfrm>
        </p:spPr>
        <p:txBody>
          <a:bodyPr/>
          <a:lstStyle/>
          <a:p>
            <a:r>
              <a:rPr lang="en-AU" dirty="0"/>
              <a:t>Cases Overview | Action Plan</a:t>
            </a:r>
            <a:br>
              <a:rPr lang="en-AU" dirty="0"/>
            </a:br>
            <a:r>
              <a:rPr lang="en-AU" sz="4400" dirty="0"/>
              <a:t>Background Info</a:t>
            </a:r>
          </a:p>
        </p:txBody>
      </p:sp>
      <p:cxnSp>
        <p:nvCxnSpPr>
          <p:cNvPr id="8" name="Straight Arrow Connector 7">
            <a:extLst>
              <a:ext uri="{FF2B5EF4-FFF2-40B4-BE49-F238E27FC236}">
                <a16:creationId xmlns:a16="http://schemas.microsoft.com/office/drawing/2014/main" id="{3B13BCE3-1763-F944-AE43-D86DA7868064}"/>
              </a:ext>
            </a:extLst>
          </p:cNvPr>
          <p:cNvCxnSpPr>
            <a:stCxn id="5" idx="1"/>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87D05257-EBA8-C941-AF99-4B34A2D0698B}"/>
              </a:ext>
            </a:extLst>
          </p:cNvPr>
          <p:cNvSpPr/>
          <p:nvPr/>
        </p:nvSpPr>
        <p:spPr>
          <a:xfrm>
            <a:off x="24977546" y="2216461"/>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CTL : Client Technical Lead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CL: Software Client Lead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TA: Software Technical Architec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DL: Software Deployment Lead </a:t>
            </a: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endParaRPr>
          </a:p>
        </p:txBody>
      </p:sp>
      <p:pic>
        <p:nvPicPr>
          <p:cNvPr id="14" name="Picture 13">
            <a:extLst>
              <a:ext uri="{FF2B5EF4-FFF2-40B4-BE49-F238E27FC236}">
                <a16:creationId xmlns:a16="http://schemas.microsoft.com/office/drawing/2014/main" id="{0710731A-A695-891B-0848-964AE72E1528}"/>
              </a:ext>
            </a:extLst>
          </p:cNvPr>
          <p:cNvPicPr>
            <a:picLocks noChangeAspect="1"/>
          </p:cNvPicPr>
          <p:nvPr/>
        </p:nvPicPr>
        <p:blipFill>
          <a:blip r:embed="rId3"/>
          <a:stretch>
            <a:fillRect/>
          </a:stretch>
        </p:blipFill>
        <p:spPr>
          <a:xfrm>
            <a:off x="19211455" y="164105"/>
            <a:ext cx="1460258" cy="1096702"/>
          </a:xfrm>
          <a:prstGeom prst="rect">
            <a:avLst/>
          </a:prstGeom>
        </p:spPr>
      </p:pic>
      <p:graphicFrame>
        <p:nvGraphicFramePr>
          <p:cNvPr id="9" name="Table 12">
            <a:extLst>
              <a:ext uri="{FF2B5EF4-FFF2-40B4-BE49-F238E27FC236}">
                <a16:creationId xmlns:a16="http://schemas.microsoft.com/office/drawing/2014/main" id="{D26CF672-12B6-ABE6-C93C-6D424DC1ADD9}"/>
              </a:ext>
            </a:extLst>
          </p:cNvPr>
          <p:cNvGraphicFramePr>
            <a:graphicFrameLocks noGrp="1"/>
          </p:cNvGraphicFramePr>
          <p:nvPr/>
        </p:nvGraphicFramePr>
        <p:xfrm>
          <a:off x="4780893" y="6374615"/>
          <a:ext cx="17986865" cy="2323525"/>
        </p:xfrm>
        <a:graphic>
          <a:graphicData uri="http://schemas.openxmlformats.org/drawingml/2006/table">
            <a:tbl>
              <a:tblPr firstRow="1" bandRow="1">
                <a:tableStyleId>{72833802-FEF1-4C79-8D5D-14CF1EAF98D9}</a:tableStyleId>
              </a:tblPr>
              <a:tblGrid>
                <a:gridCol w="4363107">
                  <a:extLst>
                    <a:ext uri="{9D8B030D-6E8A-4147-A177-3AD203B41FA5}">
                      <a16:colId xmlns:a16="http://schemas.microsoft.com/office/drawing/2014/main" val="2499940331"/>
                    </a:ext>
                  </a:extLst>
                </a:gridCol>
                <a:gridCol w="3852421">
                  <a:extLst>
                    <a:ext uri="{9D8B030D-6E8A-4147-A177-3AD203B41FA5}">
                      <a16:colId xmlns:a16="http://schemas.microsoft.com/office/drawing/2014/main" val="2336347590"/>
                    </a:ext>
                  </a:extLst>
                </a:gridCol>
                <a:gridCol w="2829833">
                  <a:extLst>
                    <a:ext uri="{9D8B030D-6E8A-4147-A177-3AD203B41FA5}">
                      <a16:colId xmlns:a16="http://schemas.microsoft.com/office/drawing/2014/main" val="3681290578"/>
                    </a:ext>
                  </a:extLst>
                </a:gridCol>
                <a:gridCol w="6941504">
                  <a:extLst>
                    <a:ext uri="{9D8B030D-6E8A-4147-A177-3AD203B41FA5}">
                      <a16:colId xmlns:a16="http://schemas.microsoft.com/office/drawing/2014/main" val="2899797038"/>
                    </a:ext>
                  </a:extLst>
                </a:gridCol>
              </a:tblGrid>
              <a:tr h="599187">
                <a:tc>
                  <a:txBody>
                    <a:bodyPr/>
                    <a:lstStyle/>
                    <a:p>
                      <a:pPr lvl="0" algn="l">
                        <a:buNone/>
                      </a:pPr>
                      <a:r>
                        <a:rPr lang="en-US" sz="2800" b="1" dirty="0">
                          <a:solidFill>
                            <a:schemeClr val="bg1"/>
                          </a:solidFill>
                          <a:latin typeface="+mn-lt"/>
                        </a:rPr>
                        <a:t>Issue Description </a:t>
                      </a:r>
                    </a:p>
                  </a:txBody>
                  <a:tcPr marL="182880" marR="182880" marT="91440" marB="91440" anchor="ctr">
                    <a:solidFill>
                      <a:srgbClr val="0F62FE"/>
                    </a:solidFill>
                  </a:tcPr>
                </a:tc>
                <a:tc>
                  <a:txBody>
                    <a:bodyPr/>
                    <a:lstStyle/>
                    <a:p>
                      <a:pPr lvl="0" algn="l">
                        <a:buNone/>
                      </a:pPr>
                      <a:r>
                        <a:rPr lang="en-US" sz="2800" b="1" dirty="0" err="1">
                          <a:solidFill>
                            <a:schemeClr val="bg1"/>
                          </a:solidFill>
                          <a:latin typeface="+mn-lt"/>
                        </a:rPr>
                        <a:t>Prio</a:t>
                      </a:r>
                      <a:r>
                        <a:rPr lang="en-US" sz="2800" b="1" dirty="0">
                          <a:solidFill>
                            <a:schemeClr val="bg1"/>
                          </a:solidFill>
                          <a:latin typeface="+mn-lt"/>
                        </a:rPr>
                        <a:t> - Severity</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Business Impact</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Status – Date DD/MM/YY</a:t>
                      </a:r>
                    </a:p>
                  </a:txBody>
                  <a:tcPr marL="182880" marR="182880" marT="91440" marB="91440" anchor="ctr">
                    <a:solidFill>
                      <a:srgbClr val="0F62FE"/>
                    </a:solidFill>
                  </a:tcPr>
                </a:tc>
                <a:extLst>
                  <a:ext uri="{0D108BD9-81ED-4DB2-BD59-A6C34878D82A}">
                    <a16:rowId xmlns:a16="http://schemas.microsoft.com/office/drawing/2014/main" val="3101948352"/>
                  </a:ext>
                </a:extLst>
              </a:tr>
              <a:tr h="1713925">
                <a:tc>
                  <a:txBody>
                    <a:bodyPr/>
                    <a:lstStyle/>
                    <a:p>
                      <a:endParaRPr lang="en-US" sz="2200" b="0" dirty="0">
                        <a:solidFill>
                          <a:schemeClr val="tx1"/>
                        </a:solidFill>
                        <a:latin typeface="+mn-lt"/>
                      </a:endParaRPr>
                    </a:p>
                  </a:txBody>
                  <a:tcPr marL="182880" marR="182880" marT="91440" marB="91440">
                    <a:solidFill>
                      <a:schemeClr val="bg1"/>
                    </a:solidFill>
                  </a:tcPr>
                </a:tc>
                <a:tc>
                  <a:txBody>
                    <a:bodyPr/>
                    <a:lstStyle/>
                    <a:p>
                      <a:endParaRPr lang="en-US" sz="2200" dirty="0">
                        <a:latin typeface="+mn-lt"/>
                      </a:endParaRPr>
                    </a:p>
                  </a:txBody>
                  <a:tcPr marL="182880" marR="182880" marT="91440" marB="91440">
                    <a:solidFill>
                      <a:schemeClr val="bg1"/>
                    </a:solidFill>
                  </a:tcPr>
                </a:tc>
                <a:tc>
                  <a:txBody>
                    <a:bodyPr/>
                    <a:lstStyle/>
                    <a:p>
                      <a:endParaRPr lang="en-US" sz="2200" dirty="0">
                        <a:latin typeface="+mn-lt"/>
                      </a:endParaRPr>
                    </a:p>
                  </a:txBody>
                  <a:tcPr marL="182880" marR="182880" marT="91440" marB="91440">
                    <a:solidFill>
                      <a:schemeClr val="bg1"/>
                    </a:solidFill>
                  </a:tcPr>
                </a:tc>
                <a:tc>
                  <a:txBody>
                    <a:bodyPr/>
                    <a:lstStyle/>
                    <a:p>
                      <a:endParaRPr lang="en-US" sz="2200" dirty="0">
                        <a:latin typeface="+mn-lt"/>
                      </a:endParaRPr>
                    </a:p>
                  </a:txBody>
                  <a:tcPr marL="182880" marR="182880" marT="91440" marB="91440">
                    <a:solidFill>
                      <a:schemeClr val="bg1"/>
                    </a:solidFill>
                  </a:tcPr>
                </a:tc>
                <a:extLst>
                  <a:ext uri="{0D108BD9-81ED-4DB2-BD59-A6C34878D82A}">
                    <a16:rowId xmlns:a16="http://schemas.microsoft.com/office/drawing/2014/main" val="4212223845"/>
                  </a:ext>
                </a:extLst>
              </a:tr>
            </a:tbl>
          </a:graphicData>
        </a:graphic>
      </p:graphicFrame>
      <p:grpSp>
        <p:nvGrpSpPr>
          <p:cNvPr id="16" name="Group 15">
            <a:extLst>
              <a:ext uri="{FF2B5EF4-FFF2-40B4-BE49-F238E27FC236}">
                <a16:creationId xmlns:a16="http://schemas.microsoft.com/office/drawing/2014/main" id="{0BEEDD9B-1E77-CED4-B54C-7BD7EBC52783}"/>
              </a:ext>
            </a:extLst>
          </p:cNvPr>
          <p:cNvGrpSpPr/>
          <p:nvPr/>
        </p:nvGrpSpPr>
        <p:grpSpPr>
          <a:xfrm>
            <a:off x="17077122" y="157628"/>
            <a:ext cx="1848836" cy="1259544"/>
            <a:chOff x="8076352" y="86794"/>
            <a:chExt cx="924418" cy="629772"/>
          </a:xfrm>
        </p:grpSpPr>
        <p:pic>
          <p:nvPicPr>
            <p:cNvPr id="4" name="Picture 3" descr="A picture containing electronics, loudspeaker&#10;&#10;Description automatically generated">
              <a:extLst>
                <a:ext uri="{FF2B5EF4-FFF2-40B4-BE49-F238E27FC236}">
                  <a16:creationId xmlns:a16="http://schemas.microsoft.com/office/drawing/2014/main" id="{B26BB2B2-7E22-1321-641E-4AA2179A41F3}"/>
                </a:ext>
              </a:extLst>
            </p:cNvPr>
            <p:cNvPicPr>
              <a:picLocks noChangeAspect="1"/>
            </p:cNvPicPr>
            <p:nvPr/>
          </p:nvPicPr>
          <p:blipFill>
            <a:blip r:embed="rId4"/>
            <a:stretch>
              <a:fillRect/>
            </a:stretch>
          </p:blipFill>
          <p:spPr>
            <a:xfrm>
              <a:off x="8076352" y="86794"/>
              <a:ext cx="373328" cy="622969"/>
            </a:xfrm>
            <a:prstGeom prst="rect">
              <a:avLst/>
            </a:prstGeom>
          </p:spPr>
        </p:pic>
        <p:pic>
          <p:nvPicPr>
            <p:cNvPr id="6" name="Picture 5">
              <a:extLst>
                <a:ext uri="{FF2B5EF4-FFF2-40B4-BE49-F238E27FC236}">
                  <a16:creationId xmlns:a16="http://schemas.microsoft.com/office/drawing/2014/main" id="{670FD3C0-5968-FE84-8197-65976FE21C50}"/>
                </a:ext>
              </a:extLst>
            </p:cNvPr>
            <p:cNvPicPr>
              <a:picLocks noChangeAspect="1"/>
            </p:cNvPicPr>
            <p:nvPr/>
          </p:nvPicPr>
          <p:blipFill>
            <a:blip r:embed="rId5"/>
            <a:stretch>
              <a:fillRect/>
            </a:stretch>
          </p:blipFill>
          <p:spPr>
            <a:xfrm>
              <a:off x="8401735" y="97932"/>
              <a:ext cx="272737" cy="607496"/>
            </a:xfrm>
            <a:prstGeom prst="rect">
              <a:avLst/>
            </a:prstGeom>
          </p:spPr>
        </p:pic>
        <p:pic>
          <p:nvPicPr>
            <p:cNvPr id="11" name="Picture 10">
              <a:extLst>
                <a:ext uri="{FF2B5EF4-FFF2-40B4-BE49-F238E27FC236}">
                  <a16:creationId xmlns:a16="http://schemas.microsoft.com/office/drawing/2014/main" id="{16F6B478-50FE-E9EB-2693-22C2AE8E2708}"/>
                </a:ext>
              </a:extLst>
            </p:cNvPr>
            <p:cNvPicPr>
              <a:picLocks noChangeAspect="1"/>
            </p:cNvPicPr>
            <p:nvPr/>
          </p:nvPicPr>
          <p:blipFill>
            <a:blip r:embed="rId6"/>
            <a:stretch>
              <a:fillRect/>
            </a:stretch>
          </p:blipFill>
          <p:spPr>
            <a:xfrm>
              <a:off x="8673202" y="86794"/>
              <a:ext cx="327568" cy="629772"/>
            </a:xfrm>
            <a:prstGeom prst="rect">
              <a:avLst/>
            </a:prstGeom>
          </p:spPr>
        </p:pic>
      </p:grpSp>
      <p:sp>
        <p:nvSpPr>
          <p:cNvPr id="19" name="Star">
            <a:extLst>
              <a:ext uri="{FF2B5EF4-FFF2-40B4-BE49-F238E27FC236}">
                <a16:creationId xmlns:a16="http://schemas.microsoft.com/office/drawing/2014/main" id="{F1FFBEE5-45E4-BA9D-5FD5-A23575486561}"/>
              </a:ext>
            </a:extLst>
          </p:cNvPr>
          <p:cNvSpPr/>
          <p:nvPr/>
        </p:nvSpPr>
        <p:spPr>
          <a:xfrm>
            <a:off x="10349793" y="143443"/>
            <a:ext cx="6783391" cy="385932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1">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0" name="Note to CSMer…">
            <a:extLst>
              <a:ext uri="{FF2B5EF4-FFF2-40B4-BE49-F238E27FC236}">
                <a16:creationId xmlns:a16="http://schemas.microsoft.com/office/drawing/2014/main" id="{1552B263-787E-DBF2-34E9-E9F99F64EFB5}"/>
              </a:ext>
            </a:extLst>
          </p:cNvPr>
          <p:cNvSpPr txBox="1"/>
          <p:nvPr/>
        </p:nvSpPr>
        <p:spPr>
          <a:xfrm>
            <a:off x="10756365" y="1349715"/>
            <a:ext cx="5910943" cy="18261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lang="en-AU" sz="28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Access to case view for update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lang="en-AU" sz="28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On cases related to  CSM deployment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lang="en-AU" sz="2800" b="1" i="0" u="none" strike="noStrike" kern="0" cap="none" spc="0" normalizeH="0" baseline="0" noProof="0" dirty="0" err="1">
                <a:ln>
                  <a:noFill/>
                </a:ln>
                <a:solidFill>
                  <a:srgbClr val="FFFFFF"/>
                </a:solidFill>
                <a:effectLst/>
                <a:uLnTx/>
                <a:uFillTx/>
                <a:latin typeface="IBM Plex Sans"/>
                <a:ea typeface="IBM Plex Sans"/>
                <a:cs typeface="IBM Plex Sans"/>
                <a:sym typeface="IBM Plex Sans"/>
              </a:rPr>
              <a:t>Actvitiies</a:t>
            </a:r>
            <a:r>
              <a:rPr kumimoji="0" lang="en-AU" sz="28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 </a:t>
            </a:r>
            <a:endParaRPr kumimoji="0" sz="28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endParaRPr>
          </a:p>
        </p:txBody>
      </p:sp>
      <p:graphicFrame>
        <p:nvGraphicFramePr>
          <p:cNvPr id="22" name="Table 12">
            <a:extLst>
              <a:ext uri="{FF2B5EF4-FFF2-40B4-BE49-F238E27FC236}">
                <a16:creationId xmlns:a16="http://schemas.microsoft.com/office/drawing/2014/main" id="{3DF18FEF-7DF6-883F-FF07-6173D82F5863}"/>
              </a:ext>
            </a:extLst>
          </p:cNvPr>
          <p:cNvGraphicFramePr>
            <a:graphicFrameLocks noGrp="1"/>
          </p:cNvGraphicFramePr>
          <p:nvPr/>
        </p:nvGraphicFramePr>
        <p:xfrm>
          <a:off x="633644" y="4079290"/>
          <a:ext cx="22134114" cy="1666738"/>
        </p:xfrm>
        <a:graphic>
          <a:graphicData uri="http://schemas.openxmlformats.org/drawingml/2006/table">
            <a:tbl>
              <a:tblPr firstRow="1" bandRow="1">
                <a:tableStyleId>{72833802-FEF1-4C79-8D5D-14CF1EAF98D9}</a:tableStyleId>
              </a:tblPr>
              <a:tblGrid>
                <a:gridCol w="2137800">
                  <a:extLst>
                    <a:ext uri="{9D8B030D-6E8A-4147-A177-3AD203B41FA5}">
                      <a16:colId xmlns:a16="http://schemas.microsoft.com/office/drawing/2014/main" val="2499940331"/>
                    </a:ext>
                  </a:extLst>
                </a:gridCol>
                <a:gridCol w="3878589">
                  <a:extLst>
                    <a:ext uri="{9D8B030D-6E8A-4147-A177-3AD203B41FA5}">
                      <a16:colId xmlns:a16="http://schemas.microsoft.com/office/drawing/2014/main" val="798534592"/>
                    </a:ext>
                  </a:extLst>
                </a:gridCol>
                <a:gridCol w="3878589">
                  <a:extLst>
                    <a:ext uri="{9D8B030D-6E8A-4147-A177-3AD203B41FA5}">
                      <a16:colId xmlns:a16="http://schemas.microsoft.com/office/drawing/2014/main" val="2336347590"/>
                    </a:ext>
                  </a:extLst>
                </a:gridCol>
                <a:gridCol w="2072342">
                  <a:extLst>
                    <a:ext uri="{9D8B030D-6E8A-4147-A177-3AD203B41FA5}">
                      <a16:colId xmlns:a16="http://schemas.microsoft.com/office/drawing/2014/main" val="3681290578"/>
                    </a:ext>
                  </a:extLst>
                </a:gridCol>
                <a:gridCol w="5083397">
                  <a:extLst>
                    <a:ext uri="{9D8B030D-6E8A-4147-A177-3AD203B41FA5}">
                      <a16:colId xmlns:a16="http://schemas.microsoft.com/office/drawing/2014/main" val="1747238576"/>
                    </a:ext>
                  </a:extLst>
                </a:gridCol>
                <a:gridCol w="5083397">
                  <a:extLst>
                    <a:ext uri="{9D8B030D-6E8A-4147-A177-3AD203B41FA5}">
                      <a16:colId xmlns:a16="http://schemas.microsoft.com/office/drawing/2014/main" val="2899797038"/>
                    </a:ext>
                  </a:extLst>
                </a:gridCol>
              </a:tblGrid>
              <a:tr h="320604">
                <a:tc>
                  <a:txBody>
                    <a:bodyPr/>
                    <a:lstStyle/>
                    <a:p>
                      <a:pPr lvl="0" algn="l">
                        <a:buNone/>
                      </a:pPr>
                      <a:r>
                        <a:rPr lang="en-US" sz="2800" b="1" dirty="0">
                          <a:solidFill>
                            <a:schemeClr val="bg1"/>
                          </a:solidFill>
                          <a:latin typeface="+mn-lt"/>
                        </a:rPr>
                        <a:t>Issue  #</a:t>
                      </a:r>
                    </a:p>
                  </a:txBody>
                  <a:tcPr marL="182880" marR="182880" marT="91440" marB="91440" anchor="ctr">
                    <a:solidFill>
                      <a:srgbClr val="0F62FE"/>
                    </a:solidFill>
                  </a:tcPr>
                </a:tc>
                <a:tc>
                  <a:txBody>
                    <a:bodyPr/>
                    <a:lstStyle/>
                    <a:p>
                      <a:pPr lvl="0" algn="l">
                        <a:buNone/>
                      </a:pPr>
                      <a:r>
                        <a:rPr lang="en-US" sz="2800" b="1" dirty="0" err="1">
                          <a:solidFill>
                            <a:schemeClr val="bg1"/>
                          </a:solidFill>
                          <a:latin typeface="+mn-lt"/>
                        </a:rPr>
                        <a:t>Prio</a:t>
                      </a:r>
                      <a:r>
                        <a:rPr lang="en-US" sz="2800" b="1" dirty="0">
                          <a:solidFill>
                            <a:schemeClr val="bg1"/>
                          </a:solidFill>
                          <a:latin typeface="+mn-lt"/>
                        </a:rPr>
                        <a:t>-Severity</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Issue Summary</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Status</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Date Created </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Last Update</a:t>
                      </a:r>
                    </a:p>
                  </a:txBody>
                  <a:tcPr marL="182880" marR="182880" marT="91440" marB="91440" anchor="ctr">
                    <a:solidFill>
                      <a:srgbClr val="0F62FE"/>
                    </a:solidFill>
                  </a:tcPr>
                </a:tc>
                <a:extLst>
                  <a:ext uri="{0D108BD9-81ED-4DB2-BD59-A6C34878D82A}">
                    <a16:rowId xmlns:a16="http://schemas.microsoft.com/office/drawing/2014/main" val="3101948352"/>
                  </a:ext>
                </a:extLst>
              </a:tr>
              <a:tr h="528569">
                <a:tc>
                  <a:txBody>
                    <a:bodyPr/>
                    <a:lstStyle/>
                    <a:p>
                      <a:endParaRPr lang="en-US" sz="2200" b="0" dirty="0">
                        <a:solidFill>
                          <a:schemeClr val="tx1"/>
                        </a:solidFill>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extLst>
                  <a:ext uri="{0D108BD9-81ED-4DB2-BD59-A6C34878D82A}">
                    <a16:rowId xmlns:a16="http://schemas.microsoft.com/office/drawing/2014/main" val="4212223845"/>
                  </a:ext>
                </a:extLst>
              </a:tr>
              <a:tr h="528569">
                <a:tc>
                  <a:txBody>
                    <a:bodyPr/>
                    <a:lstStyle/>
                    <a:p>
                      <a:endParaRPr lang="en-US" sz="2200" b="0" dirty="0">
                        <a:solidFill>
                          <a:schemeClr val="tx1"/>
                        </a:solidFill>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extLst>
                  <a:ext uri="{0D108BD9-81ED-4DB2-BD59-A6C34878D82A}">
                    <a16:rowId xmlns:a16="http://schemas.microsoft.com/office/drawing/2014/main" val="4138119222"/>
                  </a:ext>
                </a:extLst>
              </a:tr>
            </a:tbl>
          </a:graphicData>
        </a:graphic>
      </p:graphicFrame>
      <p:sp>
        <p:nvSpPr>
          <p:cNvPr id="23" name="TextBox 22">
            <a:extLst>
              <a:ext uri="{FF2B5EF4-FFF2-40B4-BE49-F238E27FC236}">
                <a16:creationId xmlns:a16="http://schemas.microsoft.com/office/drawing/2014/main" id="{8481BE09-BCDE-CE1C-C836-914AF12D548C}"/>
              </a:ext>
            </a:extLst>
          </p:cNvPr>
          <p:cNvSpPr txBox="1"/>
          <p:nvPr/>
        </p:nvSpPr>
        <p:spPr>
          <a:xfrm>
            <a:off x="633644" y="3508616"/>
            <a:ext cx="12361920"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IBM Plex Sans Regular"/>
                <a:ea typeface="+mn-ea"/>
                <a:cs typeface="+mn-cs"/>
                <a:sym typeface="Helvetica Neue"/>
              </a:rPr>
              <a:t>OVERVIEW | CASES MANAGEMENT | SCOPE: CLOUD PACKS OPERATIONS   </a:t>
            </a:r>
          </a:p>
        </p:txBody>
      </p:sp>
      <p:sp>
        <p:nvSpPr>
          <p:cNvPr id="24" name="TextBox 23">
            <a:extLst>
              <a:ext uri="{FF2B5EF4-FFF2-40B4-BE49-F238E27FC236}">
                <a16:creationId xmlns:a16="http://schemas.microsoft.com/office/drawing/2014/main" id="{3108B2F9-CF54-E7CE-FB58-AC4FF11A2DBC}"/>
              </a:ext>
            </a:extLst>
          </p:cNvPr>
          <p:cNvSpPr txBox="1"/>
          <p:nvPr/>
        </p:nvSpPr>
        <p:spPr>
          <a:xfrm>
            <a:off x="4748054" y="5918354"/>
            <a:ext cx="6764683"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IBM Plex Sans Regular"/>
                <a:ea typeface="+mn-ea"/>
                <a:cs typeface="+mn-cs"/>
                <a:sym typeface="Helvetica Neue"/>
              </a:rPr>
              <a:t>DETAILS | CASE RESOUTION | ACTION PLAN  </a:t>
            </a:r>
          </a:p>
        </p:txBody>
      </p:sp>
      <p:pic>
        <p:nvPicPr>
          <p:cNvPr id="3" name="Picture 2">
            <a:extLst>
              <a:ext uri="{FF2B5EF4-FFF2-40B4-BE49-F238E27FC236}">
                <a16:creationId xmlns:a16="http://schemas.microsoft.com/office/drawing/2014/main" id="{856C74ED-4CF3-CEC0-E031-A76938C429E0}"/>
              </a:ext>
            </a:extLst>
          </p:cNvPr>
          <p:cNvPicPr>
            <a:picLocks noChangeAspect="1"/>
          </p:cNvPicPr>
          <p:nvPr/>
        </p:nvPicPr>
        <p:blipFill>
          <a:blip r:embed="rId7"/>
          <a:stretch>
            <a:fillRect/>
          </a:stretch>
        </p:blipFill>
        <p:spPr>
          <a:xfrm>
            <a:off x="2265781" y="6374615"/>
            <a:ext cx="2260600" cy="2311400"/>
          </a:xfrm>
          <a:prstGeom prst="rect">
            <a:avLst/>
          </a:prstGeom>
        </p:spPr>
      </p:pic>
      <p:sp>
        <p:nvSpPr>
          <p:cNvPr id="26" name="Process 25">
            <a:extLst>
              <a:ext uri="{FF2B5EF4-FFF2-40B4-BE49-F238E27FC236}">
                <a16:creationId xmlns:a16="http://schemas.microsoft.com/office/drawing/2014/main" id="{F06A371C-A592-CB4B-59CD-750FC88FE113}"/>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10327040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2" name="Slide Number"/>
          <p:cNvSpPr txBox="1">
            <a:spLocks noGrp="1"/>
          </p:cNvSpPr>
          <p:nvPr>
            <p:ph type="sldNum" sz="quarter" idx="2"/>
          </p:nvPr>
        </p:nvSpPr>
        <p:spPr>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marL="0" marR="0" lvl="0" indent="0" algn="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sz="2400" b="0" i="0" u="none" strike="noStrike" kern="0" cap="none" spc="0" normalizeH="0" baseline="0" noProof="0">
                <a:ln>
                  <a:noFill/>
                </a:ln>
                <a:solidFill>
                  <a:srgbClr val="FFFFFF"/>
                </a:solidFill>
                <a:effectLst/>
                <a:uLnTx/>
                <a:uFillTx/>
                <a:latin typeface="IBM Plex Sans"/>
                <a:sym typeface="IBM Plex Sans"/>
              </a:rPr>
              <a:pPr marL="0" marR="0" lvl="0" indent="0" algn="r" defTabSz="584200" rtl="0" eaLnBrk="1" fontAlgn="auto" latinLnBrk="0" hangingPunct="0">
                <a:lnSpc>
                  <a:spcPct val="100000"/>
                </a:lnSpc>
                <a:spcBef>
                  <a:spcPts val="0"/>
                </a:spcBef>
                <a:spcAft>
                  <a:spcPts val="0"/>
                </a:spcAft>
                <a:buClrTx/>
                <a:buSzTx/>
                <a:buFontTx/>
                <a:buNone/>
                <a:tabLst/>
                <a:defRPr/>
              </a:pPr>
              <a:t>19</a:t>
            </a:fld>
            <a:endParaRPr kumimoji="0" sz="2400" b="0" i="0" u="none" strike="noStrike" kern="0" cap="none" spc="0" normalizeH="0" baseline="0" noProof="0">
              <a:ln>
                <a:noFill/>
              </a:ln>
              <a:solidFill>
                <a:srgbClr val="FFFFFF"/>
              </a:solidFill>
              <a:effectLst/>
              <a:uLnTx/>
              <a:uFillTx/>
              <a:latin typeface="IBM Plex Sans"/>
              <a:sym typeface="IBM Plex Sans"/>
            </a:endParaRPr>
          </a:p>
        </p:txBody>
      </p:sp>
      <p:sp>
        <p:nvSpPr>
          <p:cNvPr id="1753" name="Line"/>
          <p:cNvSpPr/>
          <p:nvPr/>
        </p:nvSpPr>
        <p:spPr>
          <a:xfrm>
            <a:off x="765578" y="14359841"/>
            <a:ext cx="22512239" cy="1"/>
          </a:xfrm>
          <a:prstGeom prst="line">
            <a:avLst/>
          </a:prstGeom>
          <a:ln w="25400">
            <a:solidFill>
              <a:srgbClr val="D5D5D5"/>
            </a:solidFill>
            <a:miter lim="400000"/>
          </a:ln>
        </p:spPr>
        <p:txBody>
          <a:bodyPr lIns="50800" tIns="50800" rIns="50800" bIns="50800" anchor="ct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graphicFrame>
        <p:nvGraphicFramePr>
          <p:cNvPr id="1754" name="Content Placeholder"/>
          <p:cNvGraphicFramePr/>
          <p:nvPr/>
        </p:nvGraphicFramePr>
        <p:xfrm>
          <a:off x="635000" y="3487561"/>
          <a:ext cx="17019762" cy="4521517"/>
        </p:xfrm>
        <a:graphic>
          <a:graphicData uri="http://schemas.openxmlformats.org/drawingml/2006/table">
            <a:tbl>
              <a:tblPr firstRow="1">
                <a:tableStyleId>{4C3C2611-4C71-4FC5-86AE-919BDF0F9419}</a:tableStyleId>
              </a:tblPr>
              <a:tblGrid>
                <a:gridCol w="6387771">
                  <a:extLst>
                    <a:ext uri="{9D8B030D-6E8A-4147-A177-3AD203B41FA5}">
                      <a16:colId xmlns:a16="http://schemas.microsoft.com/office/drawing/2014/main" val="20000"/>
                    </a:ext>
                  </a:extLst>
                </a:gridCol>
                <a:gridCol w="3305526">
                  <a:extLst>
                    <a:ext uri="{9D8B030D-6E8A-4147-A177-3AD203B41FA5}">
                      <a16:colId xmlns:a16="http://schemas.microsoft.com/office/drawing/2014/main" val="20001"/>
                    </a:ext>
                  </a:extLst>
                </a:gridCol>
                <a:gridCol w="7326465">
                  <a:extLst>
                    <a:ext uri="{9D8B030D-6E8A-4147-A177-3AD203B41FA5}">
                      <a16:colId xmlns:a16="http://schemas.microsoft.com/office/drawing/2014/main" val="20002"/>
                    </a:ext>
                  </a:extLst>
                </a:gridCol>
              </a:tblGrid>
              <a:tr h="808037">
                <a:tc>
                  <a:txBody>
                    <a:bodyPr/>
                    <a:lstStyle/>
                    <a:p>
                      <a:pPr algn="l" defTabSz="2438400">
                        <a:spcBef>
                          <a:spcPts val="1200"/>
                        </a:spcBef>
                        <a:defRPr sz="1800" b="0"/>
                      </a:pPr>
                      <a:r>
                        <a:rPr sz="2800" b="1">
                          <a:solidFill>
                            <a:srgbClr val="FFFFFF"/>
                          </a:solidFill>
                          <a:latin typeface="IBM Plex Sans"/>
                          <a:ea typeface="IBM Plex Sans"/>
                          <a:cs typeface="IBM Plex Sans"/>
                          <a:sym typeface="IBM Plex Sans"/>
                        </a:rPr>
                        <a:t>Steps</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a:solidFill>
                            <a:srgbClr val="FFFFFF"/>
                          </a:solidFill>
                          <a:latin typeface="IBM Plex Sans"/>
                          <a:ea typeface="IBM Plex Sans"/>
                          <a:cs typeface="IBM Plex Sans"/>
                          <a:sym typeface="IBM Plex Sans"/>
                        </a:rPr>
                        <a:t>Owner</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a:solidFill>
                            <a:srgbClr val="FFFFFF"/>
                          </a:solidFill>
                          <a:latin typeface="IBM Plex Sans"/>
                          <a:ea typeface="IBM Plex Sans"/>
                          <a:cs typeface="IBM Plex Sans"/>
                          <a:sym typeface="IBM Plex Sans"/>
                        </a:rPr>
                        <a:t>Estimated deadline</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extLst>
                  <a:ext uri="{0D108BD9-81ED-4DB2-BD59-A6C34878D82A}">
                    <a16:rowId xmlns:a16="http://schemas.microsoft.com/office/drawing/2014/main" val="10000"/>
                  </a:ext>
                </a:extLst>
              </a:tr>
              <a:tr h="787400">
                <a:tc>
                  <a:txBody>
                    <a:bodyPr/>
                    <a:lstStyle/>
                    <a:p>
                      <a:pPr algn="l" defTabSz="2438400">
                        <a:spcBef>
                          <a:spcPts val="1200"/>
                        </a:spcBef>
                        <a:defRPr sz="1800"/>
                      </a:pPr>
                      <a:r>
                        <a:rPr sz="2800">
                          <a:latin typeface="IBM Plex Sans"/>
                          <a:ea typeface="IBM Plex Sans"/>
                          <a:cs typeface="IBM Plex Sans"/>
                          <a:sym typeface="IBM Plex Sans"/>
                        </a:rPr>
                        <a:t>[Step]</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800">
                          <a:latin typeface="IBM Plex Sans"/>
                          <a:ea typeface="IBM Plex Sans"/>
                          <a:cs typeface="IBM Plex Sans"/>
                          <a:sym typeface="IBM Plex Sans"/>
                        </a:rPr>
                        <a:t>[Owner]</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800">
                          <a:latin typeface="IBM Plex Sans"/>
                          <a:ea typeface="IBM Plex Sans"/>
                          <a:cs typeface="IBM Plex Sans"/>
                          <a:sym typeface="IBM Plex Sans"/>
                        </a:rPr>
                        <a:t>[Estimated deadline]</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1"/>
                  </a:ext>
                </a:extLst>
              </a:tr>
              <a:tr h="723900">
                <a:tc>
                  <a:txBody>
                    <a:bodyPr/>
                    <a:lstStyle/>
                    <a:p>
                      <a:pPr algn="l" defTabSz="2438400">
                        <a:spcBef>
                          <a:spcPts val="1200"/>
                        </a:spcBef>
                        <a:defRPr sz="2400">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2"/>
                  </a:ext>
                </a:extLst>
              </a:tr>
              <a:tr h="712266">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3"/>
                  </a:ext>
                </a:extLst>
              </a:tr>
              <a:tr h="712266">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4"/>
                  </a:ext>
                </a:extLst>
              </a:tr>
              <a:tr h="712266">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5"/>
                  </a:ext>
                </a:extLst>
              </a:tr>
            </a:tbl>
          </a:graphicData>
        </a:graphic>
      </p:graphicFrame>
      <p:sp>
        <p:nvSpPr>
          <p:cNvPr id="1755" name="Next steps"/>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sz="6400" b="0" i="0" u="none" strike="noStrike" kern="0" cap="none" spc="0" normalizeH="0" baseline="0" noProof="0">
                <a:ln>
                  <a:noFill/>
                </a:ln>
                <a:solidFill>
                  <a:srgbClr val="000000"/>
                </a:solidFill>
                <a:effectLst/>
                <a:uLnTx/>
                <a:uFillTx/>
                <a:latin typeface="IBM Plex Sans"/>
                <a:sym typeface="IBM Plex Sans"/>
              </a:rPr>
              <a:t>Next steps </a:t>
            </a:r>
          </a:p>
        </p:txBody>
      </p:sp>
      <p:sp>
        <p:nvSpPr>
          <p:cNvPr id="1756" name="Star"/>
          <p:cNvSpPr/>
          <p:nvPr/>
        </p:nvSpPr>
        <p:spPr>
          <a:xfrm>
            <a:off x="19262729" y="343107"/>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757" name="Note to CSMer…"/>
          <p:cNvSpPr txBox="1"/>
          <p:nvPr/>
        </p:nvSpPr>
        <p:spPr>
          <a:xfrm>
            <a:off x="20068083" y="1360137"/>
            <a:ext cx="2574807" cy="21336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400" b="1" i="0" u="none" strike="noStrike" kern="0" cap="none" spc="0" normalizeH="0" baseline="0" noProof="0">
                <a:ln>
                  <a:noFill/>
                </a:ln>
                <a:solidFill>
                  <a:srgbClr val="FFFFFF"/>
                </a:solidFill>
                <a:effectLst/>
                <a:uLnTx/>
                <a:uFillTx/>
                <a:latin typeface="IBM Plex Sans"/>
                <a:sym typeface="IBM Plex Sans"/>
              </a:rPr>
              <a:t>Note to CSMer</a:t>
            </a:r>
            <a:endParaRPr kumimoji="0" sz="2400" b="0" i="0" u="none" strike="noStrike" kern="0" cap="none" spc="0" normalizeH="0" baseline="0" noProof="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400" b="0" i="0" u="none" strike="noStrike" kern="0" cap="none" spc="0" normalizeH="0" baseline="0" noProof="0">
                <a:ln>
                  <a:noFill/>
                </a:ln>
                <a:solidFill>
                  <a:srgbClr val="FFFFFF"/>
                </a:solidFill>
                <a:effectLst/>
                <a:uLnTx/>
                <a:uFillTx/>
                <a:latin typeface="IBM Plex Sans"/>
                <a:sym typeface="IBM Plex Sans"/>
              </a:rPr>
              <a:t>Capture next steps to work with the customer here.</a:t>
            </a:r>
          </a:p>
        </p:txBody>
      </p:sp>
    </p:spTree>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6A6CA3A0-8A20-6BF1-A1E3-620F1D95DADE}"/>
              </a:ext>
            </a:extLst>
          </p:cNvPr>
          <p:cNvSpPr txBox="1"/>
          <p:nvPr/>
        </p:nvSpPr>
        <p:spPr>
          <a:xfrm>
            <a:off x="0" y="12723764"/>
            <a:ext cx="24384000" cy="1056988"/>
          </a:xfrm>
          <a:prstGeom prst="rect">
            <a:avLst/>
          </a:prstGeom>
          <a:solidFill>
            <a:srgbClr val="92D050"/>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algn="ctr"/>
            <a:r>
              <a:rPr lang="en-US" sz="3200" b="1" dirty="0">
                <a:solidFill>
                  <a:schemeClr val="bg2">
                    <a:lumMod val="10000"/>
                  </a:schemeClr>
                </a:solidFill>
              </a:rPr>
              <a:t>This template helps to engage as a CSM with your customer </a:t>
            </a:r>
            <a:endParaRPr lang="en-US" sz="3200" dirty="0">
              <a:solidFill>
                <a:schemeClr val="bg2">
                  <a:lumMod val="10000"/>
                </a:schemeClr>
              </a:solidFill>
            </a:endParaRPr>
          </a:p>
        </p:txBody>
      </p:sp>
      <p:sp>
        <p:nvSpPr>
          <p:cNvPr id="2" name="Title 1">
            <a:extLst>
              <a:ext uri="{FF2B5EF4-FFF2-40B4-BE49-F238E27FC236}">
                <a16:creationId xmlns:a16="http://schemas.microsoft.com/office/drawing/2014/main" id="{DC453B5D-9375-412C-A03F-E43B3584A37E}"/>
              </a:ext>
            </a:extLst>
          </p:cNvPr>
          <p:cNvSpPr>
            <a:spLocks noGrp="1"/>
          </p:cNvSpPr>
          <p:nvPr>
            <p:ph type="title"/>
          </p:nvPr>
        </p:nvSpPr>
        <p:spPr>
          <a:xfrm>
            <a:off x="560832" y="536448"/>
            <a:ext cx="21169616" cy="1207685"/>
          </a:xfrm>
        </p:spPr>
        <p:txBody>
          <a:bodyPr/>
          <a:lstStyle/>
          <a:p>
            <a:r>
              <a:rPr lang="en-US" dirty="0"/>
              <a:t>CSM Engagement </a:t>
            </a:r>
            <a:br>
              <a:rPr lang="en-US" dirty="0"/>
            </a:br>
            <a:r>
              <a:rPr lang="en-US" sz="5400" b="1" dirty="0"/>
              <a:t>Enablers</a:t>
            </a:r>
            <a:r>
              <a:rPr lang="en-US" sz="5400" dirty="0"/>
              <a:t> </a:t>
            </a:r>
            <a:endParaRPr lang="en-IL" sz="5400" dirty="0"/>
          </a:p>
        </p:txBody>
      </p:sp>
      <p:cxnSp>
        <p:nvCxnSpPr>
          <p:cNvPr id="7" name="Straight Arrow Connector 6">
            <a:extLst>
              <a:ext uri="{FF2B5EF4-FFF2-40B4-BE49-F238E27FC236}">
                <a16:creationId xmlns:a16="http://schemas.microsoft.com/office/drawing/2014/main" id="{8D548B98-4B85-4B45-4ED5-14DB90521271}"/>
              </a:ext>
            </a:extLst>
          </p:cNvPr>
          <p:cNvCxnSpPr>
            <a:cxnSpLocks/>
          </p:cNvCxnSpPr>
          <p:nvPr/>
        </p:nvCxnSpPr>
        <p:spPr bwMode="auto">
          <a:xfrm>
            <a:off x="9258300" y="1140290"/>
            <a:ext cx="14211300" cy="0"/>
          </a:xfrm>
          <a:prstGeom prst="straightConnector1">
            <a:avLst/>
          </a:prstGeom>
          <a:ln w="1270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1B1F495E-0523-9657-13D2-D09C956BBC7A}"/>
              </a:ext>
            </a:extLst>
          </p:cNvPr>
          <p:cNvSpPr txBox="1"/>
          <p:nvPr/>
        </p:nvSpPr>
        <p:spPr>
          <a:xfrm>
            <a:off x="9258300" y="1522834"/>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 </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AWARENESS</a:t>
            </a:r>
          </a:p>
        </p:txBody>
      </p:sp>
      <p:sp>
        <p:nvSpPr>
          <p:cNvPr id="10" name="TextBox 9">
            <a:extLst>
              <a:ext uri="{FF2B5EF4-FFF2-40B4-BE49-F238E27FC236}">
                <a16:creationId xmlns:a16="http://schemas.microsoft.com/office/drawing/2014/main" id="{2E843E69-4D17-6179-2202-006E121FE75E}"/>
              </a:ext>
            </a:extLst>
          </p:cNvPr>
          <p:cNvSpPr txBox="1"/>
          <p:nvPr/>
        </p:nvSpPr>
        <p:spPr>
          <a:xfrm>
            <a:off x="15494374" y="1522834"/>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POSITIONING </a:t>
            </a:r>
          </a:p>
        </p:txBody>
      </p:sp>
      <p:sp>
        <p:nvSpPr>
          <p:cNvPr id="11" name="TextBox 10">
            <a:extLst>
              <a:ext uri="{FF2B5EF4-FFF2-40B4-BE49-F238E27FC236}">
                <a16:creationId xmlns:a16="http://schemas.microsoft.com/office/drawing/2014/main" id="{3E5DD090-DB7C-A982-8DEB-498522C8305A}"/>
              </a:ext>
            </a:extLst>
          </p:cNvPr>
          <p:cNvSpPr txBox="1"/>
          <p:nvPr/>
        </p:nvSpPr>
        <p:spPr>
          <a:xfrm>
            <a:off x="20899533" y="1458351"/>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ENGAGEMENT </a:t>
            </a:r>
          </a:p>
        </p:txBody>
      </p:sp>
      <p:sp>
        <p:nvSpPr>
          <p:cNvPr id="15" name="Straight Connector 81">
            <a:extLst>
              <a:ext uri="{FF2B5EF4-FFF2-40B4-BE49-F238E27FC236}">
                <a16:creationId xmlns:a16="http://schemas.microsoft.com/office/drawing/2014/main" id="{4AEAE165-35E2-2836-06B1-B30364BA9036}"/>
              </a:ext>
            </a:extLst>
          </p:cNvPr>
          <p:cNvSpPr/>
          <p:nvPr/>
        </p:nvSpPr>
        <p:spPr>
          <a:xfrm flipV="1">
            <a:off x="6112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 name="Straight Connector 82">
            <a:extLst>
              <a:ext uri="{FF2B5EF4-FFF2-40B4-BE49-F238E27FC236}">
                <a16:creationId xmlns:a16="http://schemas.microsoft.com/office/drawing/2014/main" id="{DF0956D6-42E0-98CB-F354-6B26EBAF5497}"/>
              </a:ext>
            </a:extLst>
          </p:cNvPr>
          <p:cNvSpPr/>
          <p:nvPr/>
        </p:nvSpPr>
        <p:spPr>
          <a:xfrm flipV="1">
            <a:off x="54880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7" name="Straight Connector 83">
            <a:extLst>
              <a:ext uri="{FF2B5EF4-FFF2-40B4-BE49-F238E27FC236}">
                <a16:creationId xmlns:a16="http://schemas.microsoft.com/office/drawing/2014/main" id="{1889B252-A57D-2E63-8216-BC6A44CB06F0}"/>
              </a:ext>
            </a:extLst>
          </p:cNvPr>
          <p:cNvSpPr/>
          <p:nvPr/>
        </p:nvSpPr>
        <p:spPr>
          <a:xfrm flipV="1">
            <a:off x="60976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8" name="Straight Connector 84">
            <a:extLst>
              <a:ext uri="{FF2B5EF4-FFF2-40B4-BE49-F238E27FC236}">
                <a16:creationId xmlns:a16="http://schemas.microsoft.com/office/drawing/2014/main" id="{E1C53AD8-590C-E24B-C2C7-6C9403A684B5}"/>
              </a:ext>
            </a:extLst>
          </p:cNvPr>
          <p:cNvSpPr/>
          <p:nvPr/>
        </p:nvSpPr>
        <p:spPr>
          <a:xfrm flipV="1">
            <a:off x="67072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9" name="Straight Connector 78">
            <a:extLst>
              <a:ext uri="{FF2B5EF4-FFF2-40B4-BE49-F238E27FC236}">
                <a16:creationId xmlns:a16="http://schemas.microsoft.com/office/drawing/2014/main" id="{7D1971D3-C2AE-DE0E-86FE-5141C518463E}"/>
              </a:ext>
            </a:extLst>
          </p:cNvPr>
          <p:cNvSpPr/>
          <p:nvPr/>
        </p:nvSpPr>
        <p:spPr>
          <a:xfrm flipH="1">
            <a:off x="-419613" y="11984736"/>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20" name="Straight Connector 80">
            <a:extLst>
              <a:ext uri="{FF2B5EF4-FFF2-40B4-BE49-F238E27FC236}">
                <a16:creationId xmlns:a16="http://schemas.microsoft.com/office/drawing/2014/main" id="{138FCE1E-7E1A-F05D-CFEC-A95A971D7460}"/>
              </a:ext>
            </a:extLst>
          </p:cNvPr>
          <p:cNvSpPr/>
          <p:nvPr/>
        </p:nvSpPr>
        <p:spPr>
          <a:xfrm flipH="1">
            <a:off x="-419613" y="13072533"/>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pic>
        <p:nvPicPr>
          <p:cNvPr id="21" name="CSMLogo_Final-04.jpg" descr="CSMLogo_Final-04.jpg">
            <a:extLst>
              <a:ext uri="{FF2B5EF4-FFF2-40B4-BE49-F238E27FC236}">
                <a16:creationId xmlns:a16="http://schemas.microsoft.com/office/drawing/2014/main" id="{5FBC3490-0A2A-EB05-41E9-42A218478905}"/>
              </a:ext>
            </a:extLst>
          </p:cNvPr>
          <p:cNvPicPr>
            <a:picLocks noChangeAspect="1"/>
          </p:cNvPicPr>
          <p:nvPr/>
        </p:nvPicPr>
        <p:blipFill>
          <a:blip r:embed="rId2"/>
          <a:srcRect r="71135"/>
          <a:stretch>
            <a:fillRect/>
          </a:stretch>
        </p:blipFill>
        <p:spPr>
          <a:xfrm>
            <a:off x="532112" y="12986057"/>
            <a:ext cx="669349" cy="685939"/>
          </a:xfrm>
          <a:prstGeom prst="rect">
            <a:avLst/>
          </a:prstGeom>
          <a:ln w="12700">
            <a:miter lim="400000"/>
          </a:ln>
        </p:spPr>
      </p:pic>
      <p:sp>
        <p:nvSpPr>
          <p:cNvPr id="22" name="IBM Customer Success / © 2021 IBM Corporation">
            <a:extLst>
              <a:ext uri="{FF2B5EF4-FFF2-40B4-BE49-F238E27FC236}">
                <a16:creationId xmlns:a16="http://schemas.microsoft.com/office/drawing/2014/main" id="{A6A39042-E38E-C517-E6D1-EB5E24FDBC85}"/>
              </a:ext>
            </a:extLst>
          </p:cNvPr>
          <p:cNvSpPr txBox="1"/>
          <p:nvPr/>
        </p:nvSpPr>
        <p:spPr>
          <a:xfrm>
            <a:off x="1161924" y="13132108"/>
            <a:ext cx="5354543" cy="3795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1800">
                <a:latin typeface="IBM Plex Sans"/>
                <a:ea typeface="IBM Plex Sans"/>
                <a:cs typeface="IBM Plex Sans"/>
                <a:sym typeface="IBM Plex Sans"/>
              </a:defRPr>
            </a:pPr>
            <a:r>
              <a:rPr kumimoji="0" sz="1800" b="0" i="0" u="none" strike="noStrike" kern="0" cap="none" spc="0" normalizeH="0" baseline="0" noProof="0" dirty="0">
                <a:ln>
                  <a:noFill/>
                </a:ln>
                <a:solidFill>
                  <a:srgbClr val="5E5E5E"/>
                </a:solidFill>
                <a:effectLst/>
                <a:uLnTx/>
                <a:uFillTx/>
                <a:latin typeface="IBM Plex Sans Light"/>
                <a:ea typeface="IBM Plex Sans Light"/>
                <a:cs typeface="IBM Plex Sans Light"/>
                <a:sym typeface="IBM Plex Sans Light"/>
              </a:rPr>
              <a:t>IBM</a:t>
            </a:r>
            <a:r>
              <a:rPr kumimoji="0" sz="1800" b="0" i="0" u="none" strike="noStrike" kern="0" cap="none" spc="0" normalizeH="0" baseline="0" noProof="0" dirty="0">
                <a:ln>
                  <a:noFill/>
                </a:ln>
                <a:solidFill>
                  <a:srgbClr val="5E5E5E"/>
                </a:solidFill>
                <a:effectLst/>
                <a:uLnTx/>
                <a:uFillTx/>
                <a:latin typeface="IBM Plex Sans"/>
                <a:sym typeface="IBM Plex Sans"/>
              </a:rPr>
              <a:t> </a:t>
            </a:r>
            <a:r>
              <a:rPr kumimoji="0" sz="1800" b="0" i="0" u="none" strike="noStrike" kern="0" cap="none" spc="19" normalizeH="0" baseline="0" noProof="0" dirty="0">
                <a:ln>
                  <a:noFill/>
                </a:ln>
                <a:solidFill>
                  <a:srgbClr val="5E5E5E"/>
                </a:solidFill>
                <a:effectLst/>
                <a:uLnTx/>
                <a:uFillTx/>
                <a:latin typeface="IBM Plex Sans SemiBold"/>
                <a:ea typeface="IBM Plex Sans SemiBold"/>
                <a:cs typeface="IBM Plex Sans SemiBold"/>
                <a:sym typeface="IBM Plex Sans SemiBold"/>
              </a:rPr>
              <a:t>Customer Success</a:t>
            </a:r>
            <a:r>
              <a:rPr kumimoji="0" sz="1800" b="1" i="0" u="none" strike="noStrike" kern="0" cap="none" spc="19" normalizeH="0" baseline="0" noProof="0" dirty="0">
                <a:ln>
                  <a:noFill/>
                </a:ln>
                <a:solidFill>
                  <a:srgbClr val="5E5E5E"/>
                </a:solidFill>
                <a:effectLst/>
                <a:uLnTx/>
                <a:uFillTx/>
                <a:latin typeface="IBM Plex Sans"/>
                <a:sym typeface="IBM Plex Sans"/>
              </a:rPr>
              <a:t> </a:t>
            </a:r>
            <a:r>
              <a:rPr kumimoji="0"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 © 202</a:t>
            </a:r>
            <a:r>
              <a:rPr kumimoji="0" lang="en-AU"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2</a:t>
            </a:r>
            <a:r>
              <a:rPr kumimoji="0"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 IBM Corporation</a:t>
            </a:r>
          </a:p>
        </p:txBody>
      </p:sp>
      <p:pic>
        <p:nvPicPr>
          <p:cNvPr id="23" name="Image" descr="Image">
            <a:extLst>
              <a:ext uri="{FF2B5EF4-FFF2-40B4-BE49-F238E27FC236}">
                <a16:creationId xmlns:a16="http://schemas.microsoft.com/office/drawing/2014/main" id="{49FCD3C9-C61F-2BAE-8134-BDC731D5C491}"/>
              </a:ext>
            </a:extLst>
          </p:cNvPr>
          <p:cNvPicPr>
            <a:picLocks noChangeAspect="1"/>
          </p:cNvPicPr>
          <p:nvPr/>
        </p:nvPicPr>
        <p:blipFill>
          <a:blip r:embed="rId3"/>
          <a:stretch>
            <a:fillRect/>
          </a:stretch>
        </p:blipFill>
        <p:spPr>
          <a:xfrm>
            <a:off x="21843057" y="11953755"/>
            <a:ext cx="2008831" cy="1540017"/>
          </a:xfrm>
          <a:prstGeom prst="rect">
            <a:avLst/>
          </a:prstGeom>
          <a:solidFill>
            <a:schemeClr val="bg2">
              <a:lumMod val="10000"/>
            </a:schemeClr>
          </a:solidFill>
          <a:ln w="12700">
            <a:miter lim="400000"/>
          </a:ln>
        </p:spPr>
      </p:pic>
      <p:sp>
        <p:nvSpPr>
          <p:cNvPr id="24" name="Text Placeholder 3">
            <a:extLst>
              <a:ext uri="{FF2B5EF4-FFF2-40B4-BE49-F238E27FC236}">
                <a16:creationId xmlns:a16="http://schemas.microsoft.com/office/drawing/2014/main" id="{12EB87D0-7464-C27C-8913-53A334F3C65A}"/>
              </a:ext>
            </a:extLst>
          </p:cNvPr>
          <p:cNvSpPr>
            <a:spLocks noGrp="1"/>
          </p:cNvSpPr>
          <p:nvPr>
            <p:ph type="body" sz="quarter" idx="13"/>
          </p:nvPr>
        </p:nvSpPr>
        <p:spPr>
          <a:xfrm>
            <a:off x="532112" y="2413465"/>
            <a:ext cx="23319776" cy="8672576"/>
          </a:xfrm>
        </p:spPr>
        <p:txBody>
          <a:bodyPr/>
          <a:lstStyle/>
          <a:p>
            <a:pPr>
              <a:buClrTx/>
            </a:pPr>
            <a:r>
              <a:rPr lang="en-US" sz="3600" u="sng" dirty="0">
                <a:latin typeface="IBM Plex Sans" panose="020B0503050203000203" pitchFamily="34" charset="0"/>
              </a:rPr>
              <a:t>Prerequisites:</a:t>
            </a:r>
            <a:r>
              <a:rPr lang="en-US" sz="3600" dirty="0">
                <a:latin typeface="IBM Plex Sans" panose="020B0503050203000203" pitchFamily="34" charset="0"/>
              </a:rPr>
              <a:t> </a:t>
            </a:r>
            <a:r>
              <a:rPr lang="en-US" sz="3600" b="0" dirty="0">
                <a:latin typeface="IBM Plex Sans" panose="020B0503050203000203" pitchFamily="34" charset="0"/>
              </a:rPr>
              <a:t>  “Be ready to engage” </a:t>
            </a:r>
          </a:p>
          <a:p>
            <a:pPr>
              <a:buClrTx/>
            </a:pPr>
            <a:r>
              <a:rPr lang="en-US" sz="3600" b="0" dirty="0">
                <a:latin typeface="IBM Plex Sans" panose="020B0503050203000203" pitchFamily="34" charset="0"/>
              </a:rPr>
              <a:t>Gather customer’s information: strategy, ecosystem, hybrid cloud journey, architecture, technologies,…</a:t>
            </a:r>
          </a:p>
          <a:p>
            <a:pPr>
              <a:buClrTx/>
            </a:pPr>
            <a:r>
              <a:rPr lang="en-US" sz="3600" b="0" dirty="0">
                <a:latin typeface="IBM Plex Sans" panose="020B0503050203000203" pitchFamily="34" charset="0"/>
              </a:rPr>
              <a:t>Get insights into current program and initiatives – leveraging on account team &amp; ecosystem</a:t>
            </a:r>
          </a:p>
          <a:p>
            <a:pPr>
              <a:buClrTx/>
            </a:pPr>
            <a:r>
              <a:rPr lang="en-US" sz="3600" b="0" dirty="0">
                <a:latin typeface="IBM Plex Sans" panose="020B0503050203000203" pitchFamily="34" charset="0"/>
              </a:rPr>
              <a:t>Understand their entitlements, their reality: current support needs/ operational challenges and opportunities for expansion </a:t>
            </a:r>
          </a:p>
          <a:p>
            <a:pPr marL="571500" indent="-571500">
              <a:buClrTx/>
              <a:buFont typeface="Wingdings" pitchFamily="2" charset="2"/>
              <a:buChar char="ü"/>
            </a:pPr>
            <a:r>
              <a:rPr lang="en-US" sz="2800" b="0" dirty="0">
                <a:latin typeface="IBM Plex Sans" panose="020B0503050203000203" pitchFamily="34" charset="0"/>
              </a:rPr>
              <a:t>Guided procedures for CSM Onboarding via </a:t>
            </a:r>
            <a:r>
              <a:rPr lang="en-US" sz="2800" b="0" dirty="0">
                <a:latin typeface="IBM Plex Sans" panose="020B0503050203000203" pitchFamily="34" charset="0"/>
                <a:hlinkClick r:id="rId4"/>
              </a:rPr>
              <a:t>CSM Playbook </a:t>
            </a:r>
            <a:endParaRPr lang="en-US" sz="2800" b="0" dirty="0">
              <a:latin typeface="IBM Plex Sans" panose="020B0503050203000203" pitchFamily="34" charset="0"/>
            </a:endParaRPr>
          </a:p>
          <a:p>
            <a:pPr marL="571500" indent="-571500">
              <a:buClrTx/>
              <a:buFont typeface="Wingdings" pitchFamily="2" charset="2"/>
              <a:buChar char="ü"/>
            </a:pPr>
            <a:r>
              <a:rPr lang="en-US" sz="2800" b="0" dirty="0">
                <a:latin typeface="IBM Plex Sans" panose="020B0503050203000203" pitchFamily="34" charset="0"/>
              </a:rPr>
              <a:t>Customer Entitlements via </a:t>
            </a:r>
            <a:r>
              <a:rPr lang="en-US" sz="2800" b="0" dirty="0">
                <a:latin typeface="IBM Plex Sans" panose="020B0503050203000203" pitchFamily="34" charset="0"/>
                <a:hlinkClick r:id="rId5"/>
              </a:rPr>
              <a:t>FastPass</a:t>
            </a:r>
            <a:r>
              <a:rPr lang="en-US" sz="2800" b="0" dirty="0">
                <a:latin typeface="IBM Plex Sans" panose="020B0503050203000203" pitchFamily="34" charset="0"/>
              </a:rPr>
              <a:t>  (feeding Gainsight)</a:t>
            </a:r>
          </a:p>
          <a:p>
            <a:pPr marL="571500" indent="-571500">
              <a:buClrTx/>
              <a:buFont typeface="Wingdings" pitchFamily="2" charset="2"/>
              <a:buChar char="ü"/>
            </a:pPr>
            <a:r>
              <a:rPr lang="en-US" sz="2800" b="0" dirty="0">
                <a:latin typeface="IBM Plex Sans" panose="020B0503050203000203" pitchFamily="34" charset="0"/>
              </a:rPr>
              <a:t>Cases / Issues overview via </a:t>
            </a:r>
            <a:r>
              <a:rPr lang="en-US" sz="2800" b="0" dirty="0">
                <a:latin typeface="IBM Plex Sans" panose="020B0503050203000203" pitchFamily="34" charset="0"/>
                <a:hlinkClick r:id="rId6"/>
              </a:rPr>
              <a:t>Case Viewer</a:t>
            </a:r>
            <a:r>
              <a:rPr lang="en-US" sz="2800" b="0" dirty="0">
                <a:latin typeface="IBM Plex Sans" panose="020B0503050203000203" pitchFamily="34" charset="0"/>
              </a:rPr>
              <a:t>, </a:t>
            </a:r>
            <a:r>
              <a:rPr lang="en-US" sz="2800" b="0" dirty="0">
                <a:latin typeface="IBM Plex Sans" panose="020B0503050203000203" pitchFamily="34" charset="0"/>
                <a:hlinkClick r:id="rId7"/>
              </a:rPr>
              <a:t>End of Support products </a:t>
            </a:r>
            <a:endParaRPr lang="en-US" sz="2800" b="0" dirty="0">
              <a:latin typeface="IBM Plex Sans" panose="020B0503050203000203" pitchFamily="34" charset="0"/>
            </a:endParaRPr>
          </a:p>
          <a:p>
            <a:pPr marL="571500" indent="-571500">
              <a:buClrTx/>
              <a:buFont typeface="Wingdings" pitchFamily="2" charset="2"/>
              <a:buChar char="ü"/>
            </a:pPr>
            <a:r>
              <a:rPr lang="en-US" sz="2800" b="0" dirty="0">
                <a:latin typeface="IBM Plex Sans" panose="020B0503050203000203" pitchFamily="34" charset="0"/>
              </a:rPr>
              <a:t>Opportunities via </a:t>
            </a:r>
            <a:r>
              <a:rPr lang="en-US" sz="2800" b="0" dirty="0">
                <a:latin typeface="IBM Plex Sans" panose="020B0503050203000203" pitchFamily="34" charset="0"/>
                <a:hlinkClick r:id="rId8"/>
              </a:rPr>
              <a:t>IBM Sales Cloud </a:t>
            </a:r>
            <a:endParaRPr lang="en-US" sz="2800" b="0" dirty="0">
              <a:latin typeface="IBM Plex Sans" panose="020B0503050203000203" pitchFamily="34" charset="0"/>
            </a:endParaRPr>
          </a:p>
          <a:p>
            <a:pPr marL="571500" indent="-571500">
              <a:buClrTx/>
              <a:buFont typeface="Wingdings" pitchFamily="2" charset="2"/>
              <a:buChar char="ü"/>
            </a:pPr>
            <a:r>
              <a:rPr lang="en-US" sz="2800" b="0" dirty="0">
                <a:latin typeface="IBM Plex Sans" panose="020B0503050203000203" pitchFamily="34" charset="0"/>
                <a:hlinkClick r:id="rId9"/>
              </a:rPr>
              <a:t>Customer Success Stories </a:t>
            </a:r>
            <a:r>
              <a:rPr lang="en-US" sz="2800" b="0" dirty="0">
                <a:latin typeface="IBM Plex Sans" panose="020B0503050203000203" pitchFamily="34" charset="0"/>
              </a:rPr>
              <a:t>, </a:t>
            </a:r>
            <a:r>
              <a:rPr lang="en-US" sz="2800" b="0" dirty="0">
                <a:solidFill>
                  <a:schemeClr val="accent2"/>
                </a:solidFill>
                <a:latin typeface="IBM Plex Sans" panose="020B0503050203000203" pitchFamily="34" charset="0"/>
                <a:ea typeface="Helvetica Neue"/>
                <a:cs typeface="Helvetica Neue"/>
                <a:sym typeface="Helvetica Neue"/>
                <a:hlinkClick r:id="rId10"/>
              </a:rPr>
              <a:t>CSM Use Cases</a:t>
            </a:r>
            <a:r>
              <a:rPr lang="en-US" sz="2800" b="0" dirty="0">
                <a:solidFill>
                  <a:schemeClr val="accent2"/>
                </a:solidFill>
                <a:latin typeface="IBM Plex Sans" panose="020B0503050203000203" pitchFamily="34" charset="0"/>
                <a:hlinkClick r:id="rId10"/>
              </a:rPr>
              <a:t> </a:t>
            </a:r>
            <a:r>
              <a:rPr lang="en-US" sz="2800" b="0" dirty="0">
                <a:latin typeface="IBM Plex Sans" panose="020B0503050203000203" pitchFamily="34" charset="0"/>
              </a:rPr>
              <a:t>resonance with Customer’s one</a:t>
            </a:r>
          </a:p>
          <a:p>
            <a:pPr marL="571500" indent="-571500">
              <a:buClrTx/>
              <a:buFont typeface="Wingdings" pitchFamily="2" charset="2"/>
              <a:buChar char="ü"/>
            </a:pPr>
            <a:r>
              <a:rPr lang="en-US" sz="2800" b="0" dirty="0">
                <a:latin typeface="IBM Plex Sans" panose="020B0503050203000203" pitchFamily="34" charset="0"/>
              </a:rPr>
              <a:t>Dedicated </a:t>
            </a:r>
            <a:r>
              <a:rPr lang="en-US" sz="2800" b="0" dirty="0">
                <a:latin typeface="IBM Plex Sans" panose="020B0503050203000203" pitchFamily="34" charset="0"/>
                <a:hlinkClick r:id="rId11"/>
              </a:rPr>
              <a:t>CSM Spotlight Stories </a:t>
            </a:r>
            <a:r>
              <a:rPr lang="en-US" sz="2800" b="0" dirty="0">
                <a:latin typeface="IBM Plex Sans" panose="020B0503050203000203" pitchFamily="34" charset="0"/>
              </a:rPr>
              <a:t>in resonance with Customer’s one</a:t>
            </a:r>
          </a:p>
          <a:p>
            <a:pPr marL="571500" indent="-571500">
              <a:buClrTx/>
              <a:buFont typeface="Wingdings" pitchFamily="2" charset="2"/>
              <a:buChar char="ü"/>
            </a:pPr>
            <a:r>
              <a:rPr lang="en-US" sz="2800" b="0" dirty="0">
                <a:latin typeface="IBM Plex Sans" panose="020B0503050203000203" pitchFamily="34" charset="0"/>
                <a:sym typeface="Wingdings" pitchFamily="2" charset="2"/>
              </a:rPr>
              <a:t>More info on  </a:t>
            </a:r>
            <a:r>
              <a:rPr lang="en-US" sz="2800" b="0" dirty="0">
                <a:latin typeface="IBM Plex Sans" panose="020B0503050203000203" pitchFamily="34" charset="0"/>
                <a:hlinkClick r:id="rId12"/>
              </a:rPr>
              <a:t>CSM Tools of the Trade</a:t>
            </a:r>
            <a:endParaRPr lang="en-US" sz="2800" b="0" dirty="0">
              <a:latin typeface="IBM Plex Sans" panose="020B0503050203000203" pitchFamily="34" charset="0"/>
            </a:endParaRPr>
          </a:p>
          <a:p>
            <a:pPr marL="571500" indent="-571500">
              <a:buClrTx/>
              <a:buFont typeface="Wingdings" pitchFamily="2" charset="2"/>
              <a:buChar char="à"/>
            </a:pPr>
            <a:r>
              <a:rPr lang="en-US" sz="3600" dirty="0">
                <a:solidFill>
                  <a:srgbClr val="FFC000"/>
                </a:solidFill>
                <a:latin typeface="IBM Plex Sans" panose="020B0503050203000203" pitchFamily="34" charset="0"/>
              </a:rPr>
              <a:t>All what you need to know to and access via </a:t>
            </a:r>
            <a:r>
              <a:rPr lang="en-US" sz="3600" b="0" dirty="0">
                <a:latin typeface="IBM Plex Sans" panose="020B0503050203000203" pitchFamily="34" charset="0"/>
                <a:hlinkClick r:id="rId13"/>
              </a:rPr>
              <a:t>CSM ToolKit</a:t>
            </a:r>
            <a:endParaRPr lang="en-US" sz="3600" b="0" dirty="0">
              <a:latin typeface="IBM Plex Sans" panose="020B0503050203000203" pitchFamily="34" charset="0"/>
            </a:endParaRPr>
          </a:p>
          <a:p>
            <a:pPr>
              <a:buClrTx/>
            </a:pPr>
            <a:endParaRPr lang="en-US" sz="3600" b="0" dirty="0">
              <a:latin typeface="IBM Plex Sans" panose="020B0503050203000203" pitchFamily="34" charset="0"/>
            </a:endParaRPr>
          </a:p>
        </p:txBody>
      </p:sp>
      <p:sp>
        <p:nvSpPr>
          <p:cNvPr id="25" name="Straight Connector 78">
            <a:extLst>
              <a:ext uri="{FF2B5EF4-FFF2-40B4-BE49-F238E27FC236}">
                <a16:creationId xmlns:a16="http://schemas.microsoft.com/office/drawing/2014/main" id="{CC20F7BD-2A53-CC39-B84A-942D44F395D6}"/>
              </a:ext>
            </a:extLst>
          </p:cNvPr>
          <p:cNvSpPr/>
          <p:nvPr/>
        </p:nvSpPr>
        <p:spPr>
          <a:xfrm flipH="1">
            <a:off x="-419613" y="11984736"/>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pic>
        <p:nvPicPr>
          <p:cNvPr id="26" name="Picture 25">
            <a:extLst>
              <a:ext uri="{FF2B5EF4-FFF2-40B4-BE49-F238E27FC236}">
                <a16:creationId xmlns:a16="http://schemas.microsoft.com/office/drawing/2014/main" id="{0CBF60D4-88C1-D771-2F9D-1B24330719AA}"/>
              </a:ext>
            </a:extLst>
          </p:cNvPr>
          <p:cNvPicPr>
            <a:picLocks noChangeAspect="1"/>
          </p:cNvPicPr>
          <p:nvPr/>
        </p:nvPicPr>
        <p:blipFill>
          <a:blip r:embed="rId14"/>
          <a:stretch>
            <a:fillRect/>
          </a:stretch>
        </p:blipFill>
        <p:spPr>
          <a:xfrm>
            <a:off x="20951196" y="7282010"/>
            <a:ext cx="2001185" cy="466644"/>
          </a:xfrm>
          <a:prstGeom prst="rect">
            <a:avLst/>
          </a:prstGeom>
        </p:spPr>
      </p:pic>
      <p:pic>
        <p:nvPicPr>
          <p:cNvPr id="27" name="Picture 26">
            <a:extLst>
              <a:ext uri="{FF2B5EF4-FFF2-40B4-BE49-F238E27FC236}">
                <a16:creationId xmlns:a16="http://schemas.microsoft.com/office/drawing/2014/main" id="{E2FED0FC-2243-3C19-6156-7919FE2DD8AA}"/>
              </a:ext>
            </a:extLst>
          </p:cNvPr>
          <p:cNvPicPr>
            <a:picLocks noChangeAspect="1"/>
          </p:cNvPicPr>
          <p:nvPr/>
        </p:nvPicPr>
        <p:blipFill>
          <a:blip r:embed="rId15"/>
          <a:stretch>
            <a:fillRect/>
          </a:stretch>
        </p:blipFill>
        <p:spPr>
          <a:xfrm>
            <a:off x="14613474" y="11251056"/>
            <a:ext cx="2311115" cy="942110"/>
          </a:xfrm>
          <a:prstGeom prst="rect">
            <a:avLst/>
          </a:prstGeom>
        </p:spPr>
      </p:pic>
      <p:pic>
        <p:nvPicPr>
          <p:cNvPr id="28" name="Picture 27">
            <a:extLst>
              <a:ext uri="{FF2B5EF4-FFF2-40B4-BE49-F238E27FC236}">
                <a16:creationId xmlns:a16="http://schemas.microsoft.com/office/drawing/2014/main" id="{A4497BF1-B8CD-8CE4-DF54-5B3699EC7CEF}"/>
              </a:ext>
            </a:extLst>
          </p:cNvPr>
          <p:cNvPicPr>
            <a:picLocks noChangeAspect="1"/>
          </p:cNvPicPr>
          <p:nvPr/>
        </p:nvPicPr>
        <p:blipFill>
          <a:blip r:embed="rId16"/>
          <a:stretch>
            <a:fillRect/>
          </a:stretch>
        </p:blipFill>
        <p:spPr>
          <a:xfrm>
            <a:off x="14473334" y="7282011"/>
            <a:ext cx="6426200" cy="2146300"/>
          </a:xfrm>
          <a:prstGeom prst="rect">
            <a:avLst/>
          </a:prstGeom>
        </p:spPr>
      </p:pic>
      <p:pic>
        <p:nvPicPr>
          <p:cNvPr id="29" name="Picture 28">
            <a:extLst>
              <a:ext uri="{FF2B5EF4-FFF2-40B4-BE49-F238E27FC236}">
                <a16:creationId xmlns:a16="http://schemas.microsoft.com/office/drawing/2014/main" id="{74430439-2ACA-74F6-BB2E-A4C40952541E}"/>
              </a:ext>
            </a:extLst>
          </p:cNvPr>
          <p:cNvPicPr>
            <a:picLocks noChangeAspect="1"/>
          </p:cNvPicPr>
          <p:nvPr/>
        </p:nvPicPr>
        <p:blipFill>
          <a:blip r:embed="rId17"/>
          <a:stretch>
            <a:fillRect/>
          </a:stretch>
        </p:blipFill>
        <p:spPr>
          <a:xfrm>
            <a:off x="14473334" y="6538440"/>
            <a:ext cx="6426199" cy="520700"/>
          </a:xfrm>
          <a:prstGeom prst="rect">
            <a:avLst/>
          </a:prstGeom>
        </p:spPr>
      </p:pic>
      <p:pic>
        <p:nvPicPr>
          <p:cNvPr id="30" name="Picture 29">
            <a:extLst>
              <a:ext uri="{FF2B5EF4-FFF2-40B4-BE49-F238E27FC236}">
                <a16:creationId xmlns:a16="http://schemas.microsoft.com/office/drawing/2014/main" id="{4BE5C93C-7314-0339-2611-FCC562E5AFBD}"/>
              </a:ext>
            </a:extLst>
          </p:cNvPr>
          <p:cNvPicPr>
            <a:picLocks noChangeAspect="1"/>
          </p:cNvPicPr>
          <p:nvPr/>
        </p:nvPicPr>
        <p:blipFill>
          <a:blip r:embed="rId18"/>
          <a:stretch>
            <a:fillRect/>
          </a:stretch>
        </p:blipFill>
        <p:spPr>
          <a:xfrm>
            <a:off x="21010207" y="7856536"/>
            <a:ext cx="1883162" cy="466644"/>
          </a:xfrm>
          <a:prstGeom prst="rect">
            <a:avLst/>
          </a:prstGeom>
        </p:spPr>
      </p:pic>
      <p:sp>
        <p:nvSpPr>
          <p:cNvPr id="31" name="5-point Star 30">
            <a:extLst>
              <a:ext uri="{FF2B5EF4-FFF2-40B4-BE49-F238E27FC236}">
                <a16:creationId xmlns:a16="http://schemas.microsoft.com/office/drawing/2014/main" id="{516BBBC2-F422-25E2-83A5-0C3060D6EAA7}"/>
              </a:ext>
            </a:extLst>
          </p:cNvPr>
          <p:cNvSpPr/>
          <p:nvPr/>
        </p:nvSpPr>
        <p:spPr bwMode="auto">
          <a:xfrm>
            <a:off x="287061" y="11911360"/>
            <a:ext cx="914400" cy="914400"/>
          </a:xfrm>
          <a:prstGeom prst="star5">
            <a:avLst/>
          </a:prstGeom>
          <a:solidFill>
            <a:srgbClr val="FFC000"/>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191919"/>
              </a:solidFill>
              <a:effectLst/>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77D7D832-D998-FA50-6774-B95ABD4281A3}"/>
              </a:ext>
            </a:extLst>
          </p:cNvPr>
          <p:cNvPicPr>
            <a:picLocks noChangeAspect="1"/>
          </p:cNvPicPr>
          <p:nvPr/>
        </p:nvPicPr>
        <p:blipFill>
          <a:blip r:embed="rId19"/>
          <a:stretch>
            <a:fillRect/>
          </a:stretch>
        </p:blipFill>
        <p:spPr>
          <a:xfrm>
            <a:off x="14542402" y="9642555"/>
            <a:ext cx="3916341" cy="1455437"/>
          </a:xfrm>
          <a:prstGeom prst="rect">
            <a:avLst/>
          </a:prstGeom>
        </p:spPr>
      </p:pic>
      <p:pic>
        <p:nvPicPr>
          <p:cNvPr id="4" name="Picture 3">
            <a:extLst>
              <a:ext uri="{FF2B5EF4-FFF2-40B4-BE49-F238E27FC236}">
                <a16:creationId xmlns:a16="http://schemas.microsoft.com/office/drawing/2014/main" id="{26C69DF1-1B19-D813-4583-A36CFA0E51AE}"/>
              </a:ext>
            </a:extLst>
          </p:cNvPr>
          <p:cNvPicPr>
            <a:picLocks noChangeAspect="1"/>
          </p:cNvPicPr>
          <p:nvPr/>
        </p:nvPicPr>
        <p:blipFill>
          <a:blip r:embed="rId20"/>
          <a:stretch>
            <a:fillRect/>
          </a:stretch>
        </p:blipFill>
        <p:spPr>
          <a:xfrm>
            <a:off x="18819591" y="10370273"/>
            <a:ext cx="4073778" cy="1295400"/>
          </a:xfrm>
          <a:prstGeom prst="rect">
            <a:avLst/>
          </a:prstGeom>
        </p:spPr>
      </p:pic>
      <p:pic>
        <p:nvPicPr>
          <p:cNvPr id="5" name="Picture 4">
            <a:extLst>
              <a:ext uri="{FF2B5EF4-FFF2-40B4-BE49-F238E27FC236}">
                <a16:creationId xmlns:a16="http://schemas.microsoft.com/office/drawing/2014/main" id="{017CA734-4E0F-E63F-D4AA-975A576F74DE}"/>
              </a:ext>
            </a:extLst>
          </p:cNvPr>
          <p:cNvPicPr>
            <a:picLocks noChangeAspect="1"/>
          </p:cNvPicPr>
          <p:nvPr/>
        </p:nvPicPr>
        <p:blipFill>
          <a:blip r:embed="rId21"/>
          <a:stretch>
            <a:fillRect/>
          </a:stretch>
        </p:blipFill>
        <p:spPr>
          <a:xfrm>
            <a:off x="18719908" y="9786635"/>
            <a:ext cx="4173462" cy="499820"/>
          </a:xfrm>
          <a:prstGeom prst="rect">
            <a:avLst/>
          </a:prstGeom>
        </p:spPr>
      </p:pic>
      <p:sp>
        <p:nvSpPr>
          <p:cNvPr id="32" name="Oval 31">
            <a:extLst>
              <a:ext uri="{FF2B5EF4-FFF2-40B4-BE49-F238E27FC236}">
                <a16:creationId xmlns:a16="http://schemas.microsoft.com/office/drawing/2014/main" id="{108A3592-4D04-5BF1-B15F-4F9A12B23961}"/>
              </a:ext>
            </a:extLst>
          </p:cNvPr>
          <p:cNvSpPr/>
          <p:nvPr/>
        </p:nvSpPr>
        <p:spPr bwMode="auto">
          <a:xfrm>
            <a:off x="21794883" y="683090"/>
            <a:ext cx="914400" cy="914400"/>
          </a:xfrm>
          <a:prstGeom prst="ellipse">
            <a:avLst/>
          </a:prstGeom>
          <a:solidFill>
            <a:srgbClr val="92D050"/>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191919"/>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09086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9" name="CS Framing Session"/>
          <p:cNvSpPr txBox="1">
            <a:spLocks noGrp="1"/>
          </p:cNvSpPr>
          <p:nvPr>
            <p:ph type="body" idx="21"/>
          </p:nvPr>
        </p:nvSpPr>
        <p:spPr>
          <a:xfrm>
            <a:off x="619028" y="413231"/>
            <a:ext cx="10962549" cy="1066801"/>
          </a:xfrm>
          <a:prstGeom prst="rect">
            <a:avLst/>
          </a:prstGeom>
        </p:spPr>
        <p:txBody>
          <a:bodyPr/>
          <a:lstStyle>
            <a:lvl1pPr>
              <a:defRPr sz="6400"/>
            </a:lvl1pPr>
          </a:lstStyle>
          <a:p>
            <a:r>
              <a:t>CS Framing Session</a:t>
            </a:r>
          </a:p>
        </p:txBody>
      </p:sp>
      <p:grpSp>
        <p:nvGrpSpPr>
          <p:cNvPr id="1894" name="Group"/>
          <p:cNvGrpSpPr/>
          <p:nvPr/>
        </p:nvGrpSpPr>
        <p:grpSpPr>
          <a:xfrm>
            <a:off x="-292614" y="-292947"/>
            <a:ext cx="24971255" cy="14305281"/>
            <a:chOff x="0" y="0"/>
            <a:chExt cx="24971254" cy="14305280"/>
          </a:xfrm>
        </p:grpSpPr>
        <p:grpSp>
          <p:nvGrpSpPr>
            <p:cNvPr id="1861" name="Group"/>
            <p:cNvGrpSpPr/>
            <p:nvPr/>
          </p:nvGrpSpPr>
          <p:grpSpPr>
            <a:xfrm>
              <a:off x="903906" y="-1"/>
              <a:ext cx="23164620" cy="243842"/>
              <a:chOff x="0" y="0"/>
              <a:chExt cx="23164618" cy="243840"/>
            </a:xfrm>
          </p:grpSpPr>
          <p:sp>
            <p:nvSpPr>
              <p:cNvPr id="1850" name="Line"/>
              <p:cNvSpPr/>
              <p:nvPr/>
            </p:nvSpPr>
            <p:spPr>
              <a:xfrm flipV="1">
                <a:off x="-1" y="-1"/>
                <a:ext cx="2"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1" name="Line"/>
              <p:cNvSpPr/>
              <p:nvPr/>
            </p:nvSpPr>
            <p:spPr>
              <a:xfrm flipV="1">
                <a:off x="48768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2" name="Line"/>
              <p:cNvSpPr/>
              <p:nvPr/>
            </p:nvSpPr>
            <p:spPr>
              <a:xfrm flipV="1">
                <a:off x="54864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3" name="Line"/>
              <p:cNvSpPr/>
              <p:nvPr/>
            </p:nvSpPr>
            <p:spPr>
              <a:xfrm flipV="1">
                <a:off x="60960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4" name="Line"/>
              <p:cNvSpPr/>
              <p:nvPr/>
            </p:nvSpPr>
            <p:spPr>
              <a:xfrm flipV="1">
                <a:off x="109728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5" name="Line"/>
              <p:cNvSpPr/>
              <p:nvPr/>
            </p:nvSpPr>
            <p:spPr>
              <a:xfrm flipV="1">
                <a:off x="115824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6" name="Line"/>
              <p:cNvSpPr/>
              <p:nvPr/>
            </p:nvSpPr>
            <p:spPr>
              <a:xfrm flipV="1">
                <a:off x="121920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7" name="Line"/>
              <p:cNvSpPr/>
              <p:nvPr/>
            </p:nvSpPr>
            <p:spPr>
              <a:xfrm flipV="1">
                <a:off x="170688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8" name="Line"/>
              <p:cNvSpPr/>
              <p:nvPr/>
            </p:nvSpPr>
            <p:spPr>
              <a:xfrm flipV="1">
                <a:off x="17678401"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9" name="Line"/>
              <p:cNvSpPr/>
              <p:nvPr/>
            </p:nvSpPr>
            <p:spPr>
              <a:xfrm flipV="1">
                <a:off x="18288001"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0" name="Line"/>
              <p:cNvSpPr/>
              <p:nvPr/>
            </p:nvSpPr>
            <p:spPr>
              <a:xfrm flipV="1">
                <a:off x="23164618"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873" name="Group"/>
            <p:cNvGrpSpPr/>
            <p:nvPr/>
          </p:nvGrpSpPr>
          <p:grpSpPr>
            <a:xfrm>
              <a:off x="903906" y="14061440"/>
              <a:ext cx="23164620" cy="243841"/>
              <a:chOff x="0" y="0"/>
              <a:chExt cx="23164618" cy="243840"/>
            </a:xfrm>
          </p:grpSpPr>
          <p:sp>
            <p:nvSpPr>
              <p:cNvPr id="1862" name="Line"/>
              <p:cNvSpPr/>
              <p:nvPr/>
            </p:nvSpPr>
            <p:spPr>
              <a:xfrm flipV="1">
                <a:off x="-1" y="-1"/>
                <a:ext cx="2"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3" name="Line"/>
              <p:cNvSpPr/>
              <p:nvPr/>
            </p:nvSpPr>
            <p:spPr>
              <a:xfrm flipV="1">
                <a:off x="48768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4" name="Line"/>
              <p:cNvSpPr/>
              <p:nvPr/>
            </p:nvSpPr>
            <p:spPr>
              <a:xfrm flipV="1">
                <a:off x="54864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5" name="Line"/>
              <p:cNvSpPr/>
              <p:nvPr/>
            </p:nvSpPr>
            <p:spPr>
              <a:xfrm flipV="1">
                <a:off x="60960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6" name="Line"/>
              <p:cNvSpPr/>
              <p:nvPr/>
            </p:nvSpPr>
            <p:spPr>
              <a:xfrm flipV="1">
                <a:off x="109728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7" name="Line"/>
              <p:cNvSpPr/>
              <p:nvPr/>
            </p:nvSpPr>
            <p:spPr>
              <a:xfrm flipV="1">
                <a:off x="115824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8" name="Line"/>
              <p:cNvSpPr/>
              <p:nvPr/>
            </p:nvSpPr>
            <p:spPr>
              <a:xfrm flipV="1">
                <a:off x="121920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9" name="Line"/>
              <p:cNvSpPr/>
              <p:nvPr/>
            </p:nvSpPr>
            <p:spPr>
              <a:xfrm flipV="1">
                <a:off x="170688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0" name="Line"/>
              <p:cNvSpPr/>
              <p:nvPr/>
            </p:nvSpPr>
            <p:spPr>
              <a:xfrm flipV="1">
                <a:off x="17678401"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1" name="Line"/>
              <p:cNvSpPr/>
              <p:nvPr/>
            </p:nvSpPr>
            <p:spPr>
              <a:xfrm flipV="1">
                <a:off x="18288001"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2" name="Line"/>
              <p:cNvSpPr/>
              <p:nvPr/>
            </p:nvSpPr>
            <p:spPr>
              <a:xfrm flipV="1">
                <a:off x="23164618"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883" name="Group"/>
            <p:cNvGrpSpPr/>
            <p:nvPr/>
          </p:nvGrpSpPr>
          <p:grpSpPr>
            <a:xfrm>
              <a:off x="-1" y="926930"/>
              <a:ext cx="243842" cy="12438551"/>
              <a:chOff x="0" y="0"/>
              <a:chExt cx="243840" cy="12438549"/>
            </a:xfrm>
          </p:grpSpPr>
          <p:sp>
            <p:nvSpPr>
              <p:cNvPr id="1874" name="Line"/>
              <p:cNvSpPr/>
              <p:nvPr/>
            </p:nvSpPr>
            <p:spPr>
              <a:xfrm flipH="1">
                <a:off x="0" y="1109472"/>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5" name="Line"/>
              <p:cNvSpPr/>
              <p:nvPr/>
            </p:nvSpPr>
            <p:spPr>
              <a:xfrm flipH="1">
                <a:off x="0" y="2804159"/>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6" name="Line"/>
              <p:cNvSpPr/>
              <p:nvPr/>
            </p:nvSpPr>
            <p:spPr>
              <a:xfrm flipH="1">
                <a:off x="0" y="451104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7" name="Line"/>
              <p:cNvSpPr/>
              <p:nvPr/>
            </p:nvSpPr>
            <p:spPr>
              <a:xfrm flipH="1">
                <a:off x="0" y="6221989"/>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8" name="Line"/>
              <p:cNvSpPr/>
              <p:nvPr/>
            </p:nvSpPr>
            <p:spPr>
              <a:xfrm flipH="1">
                <a:off x="0" y="7924800"/>
                <a:ext cx="243841" cy="0"/>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9" name="Line"/>
              <p:cNvSpPr/>
              <p:nvPr/>
            </p:nvSpPr>
            <p:spPr>
              <a:xfrm flipH="1">
                <a:off x="0" y="963168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0" name="Line"/>
              <p:cNvSpPr/>
              <p:nvPr/>
            </p:nvSpPr>
            <p:spPr>
              <a:xfrm flipH="1">
                <a:off x="0" y="11350752"/>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1" name="Line"/>
              <p:cNvSpPr/>
              <p:nvPr/>
            </p:nvSpPr>
            <p:spPr>
              <a:xfrm flipH="1" flipV="1">
                <a:off x="0" y="-1"/>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2" name="Line"/>
              <p:cNvSpPr/>
              <p:nvPr/>
            </p:nvSpPr>
            <p:spPr>
              <a:xfrm flipH="1">
                <a:off x="0" y="12438549"/>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893" name="Group"/>
            <p:cNvGrpSpPr/>
            <p:nvPr/>
          </p:nvGrpSpPr>
          <p:grpSpPr>
            <a:xfrm>
              <a:off x="24727414" y="926930"/>
              <a:ext cx="243841" cy="12435842"/>
              <a:chOff x="0" y="0"/>
              <a:chExt cx="243840" cy="12435840"/>
            </a:xfrm>
          </p:grpSpPr>
          <p:sp>
            <p:nvSpPr>
              <p:cNvPr id="1884" name="Line"/>
              <p:cNvSpPr/>
              <p:nvPr/>
            </p:nvSpPr>
            <p:spPr>
              <a:xfrm flipH="1">
                <a:off x="0" y="1109472"/>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5" name="Line"/>
              <p:cNvSpPr/>
              <p:nvPr/>
            </p:nvSpPr>
            <p:spPr>
              <a:xfrm flipH="1">
                <a:off x="0" y="280416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6" name="Line"/>
              <p:cNvSpPr/>
              <p:nvPr/>
            </p:nvSpPr>
            <p:spPr>
              <a:xfrm flipH="1">
                <a:off x="0" y="451104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7" name="Line"/>
              <p:cNvSpPr/>
              <p:nvPr/>
            </p:nvSpPr>
            <p:spPr>
              <a:xfrm flipH="1">
                <a:off x="0" y="621792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8" name="Line"/>
              <p:cNvSpPr/>
              <p:nvPr/>
            </p:nvSpPr>
            <p:spPr>
              <a:xfrm flipH="1">
                <a:off x="0" y="7924800"/>
                <a:ext cx="243841" cy="0"/>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9" name="Line"/>
              <p:cNvSpPr/>
              <p:nvPr/>
            </p:nvSpPr>
            <p:spPr>
              <a:xfrm flipH="1">
                <a:off x="0" y="963168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90" name="Line"/>
              <p:cNvSpPr/>
              <p:nvPr/>
            </p:nvSpPr>
            <p:spPr>
              <a:xfrm flipH="1">
                <a:off x="0" y="11350752"/>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91" name="Line"/>
              <p:cNvSpPr/>
              <p:nvPr/>
            </p:nvSpPr>
            <p:spPr>
              <a:xfrm flipH="1" flipV="1">
                <a:off x="0" y="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92" name="Line"/>
              <p:cNvSpPr/>
              <p:nvPr/>
            </p:nvSpPr>
            <p:spPr>
              <a:xfrm flipH="1">
                <a:off x="0" y="1243584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grpSp>
      </p:grpSp>
      <p:sp>
        <p:nvSpPr>
          <p:cNvPr id="1895" name="4 hours, no-charge, big value"/>
          <p:cNvSpPr txBox="1"/>
          <p:nvPr/>
        </p:nvSpPr>
        <p:spPr>
          <a:xfrm>
            <a:off x="578561" y="1846843"/>
            <a:ext cx="9447481" cy="7874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l" defTabSz="4572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4 hours, no-charge, focused on business value</a:t>
            </a:r>
          </a:p>
          <a:p>
            <a:pPr marL="0" marR="0" lvl="0" indent="0" algn="l" defTabSz="4572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Delivered virtually through video conference, in 1 or more session</a:t>
            </a:r>
          </a:p>
        </p:txBody>
      </p:sp>
      <p:sp>
        <p:nvSpPr>
          <p:cNvPr id="1896" name="You gain…"/>
          <p:cNvSpPr txBox="1"/>
          <p:nvPr/>
        </p:nvSpPr>
        <p:spPr>
          <a:xfrm>
            <a:off x="6374176" y="3294832"/>
            <a:ext cx="5248437" cy="59563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l" defTabSz="457200" rtl="0" eaLnBrk="1" fontAlgn="auto" latinLnBrk="0" hangingPunct="0">
              <a:lnSpc>
                <a:spcPct val="100000"/>
              </a:lnSpc>
              <a:spcBef>
                <a:spcPts val="2100"/>
              </a:spcBef>
              <a:spcAft>
                <a:spcPts val="0"/>
              </a:spcAft>
              <a:buClrTx/>
              <a:buSzTx/>
              <a:buFontTx/>
              <a:buNone/>
              <a:tabLst/>
              <a:defRPr sz="3200" b="1">
                <a:solidFill>
                  <a:srgbClr val="000000"/>
                </a:solidFill>
                <a:latin typeface="IBM Plex Sans"/>
                <a:ea typeface="IBM Plex Sans"/>
                <a:cs typeface="IBM Plex Sans"/>
                <a:sym typeface="IBM Plex Sans"/>
              </a:defRPr>
            </a:pPr>
            <a:r>
              <a:rPr kumimoji="0" sz="3200" b="1" i="0" u="none" strike="noStrike" kern="0" cap="none" spc="0" normalizeH="0" baseline="0" noProof="0">
                <a:ln>
                  <a:noFill/>
                </a:ln>
                <a:solidFill>
                  <a:srgbClr val="000000"/>
                </a:solidFill>
                <a:effectLst/>
                <a:uLnTx/>
                <a:uFillTx/>
                <a:latin typeface="IBM Plex Sans"/>
                <a:sym typeface="IBM Plex Sans"/>
              </a:rPr>
              <a:t>You Gain</a:t>
            </a:r>
          </a:p>
          <a:p>
            <a:pPr marL="304800" marR="0" lvl="0" indent="-304800" algn="l" defTabSz="457200" rtl="0" eaLnBrk="1" fontAlgn="auto" latinLnBrk="0" hangingPunct="0">
              <a:lnSpc>
                <a:spcPct val="100000"/>
              </a:lnSpc>
              <a:spcBef>
                <a:spcPts val="700"/>
              </a:spcBef>
              <a:spcAft>
                <a:spcPts val="0"/>
              </a:spcAft>
              <a:buClrTx/>
              <a:buSzPct val="123000"/>
              <a:buFontTx/>
              <a:buChar char="•"/>
              <a:tabLst/>
              <a:defRPr sz="2200">
                <a:solidFill>
                  <a:srgbClr val="000000"/>
                </a:solidFill>
                <a:latin typeface="IBM Plex Sans Light"/>
                <a:ea typeface="IBM Plex Sans Light"/>
                <a:cs typeface="IBM Plex Sans Light"/>
                <a:sym typeface="IBM Plex Sans Light"/>
              </a:defRPr>
            </a:pPr>
            <a:r>
              <a:rPr kumimoji="0" sz="2200" b="1" i="0" u="none" strike="noStrike" kern="0" cap="none" spc="0" normalizeH="0" baseline="0" noProof="0">
                <a:ln>
                  <a:noFill/>
                </a:ln>
                <a:solidFill>
                  <a:srgbClr val="0F62FE"/>
                </a:solidFill>
                <a:effectLst/>
                <a:uLnTx/>
                <a:uFillTx/>
                <a:latin typeface="IBM Plex Sans"/>
                <a:ea typeface="IBM Plex Sans"/>
                <a:cs typeface="IBM Plex Sans"/>
                <a:sym typeface="IBM Plex Sans"/>
              </a:rPr>
              <a:t>Clarity on opportunities</a:t>
            </a:r>
            <a:r>
              <a:rPr kumimoji="0" sz="2200" b="0" i="0" u="none" strike="noStrike" kern="0" cap="none" spc="0" normalizeH="0" baseline="0" noProof="0">
                <a:ln>
                  <a:noFill/>
                </a:ln>
                <a:solidFill>
                  <a:srgbClr val="000000"/>
                </a:solidFill>
                <a:effectLst/>
                <a:uLnTx/>
                <a:uFillTx/>
                <a:latin typeface="IBM Plex Sans Light"/>
                <a:sym typeface="IBM Plex Sans Light"/>
              </a:rPr>
              <a:t> to address your goals and challenges and advice how your IBM solutions can help </a:t>
            </a:r>
          </a:p>
          <a:p>
            <a:pPr marL="304800" marR="0" lvl="0" indent="-304800" algn="l" defTabSz="457200" rtl="0" eaLnBrk="1" fontAlgn="auto" latinLnBrk="0" hangingPunct="0">
              <a:lnSpc>
                <a:spcPct val="100000"/>
              </a:lnSpc>
              <a:spcBef>
                <a:spcPts val="700"/>
              </a:spcBef>
              <a:spcAft>
                <a:spcPts val="0"/>
              </a:spcAft>
              <a:buClrTx/>
              <a:buSzPct val="123000"/>
              <a:buFontTx/>
              <a:buChar char="•"/>
              <a:tabLst/>
              <a:defRPr sz="2200">
                <a:solidFill>
                  <a:srgbClr val="000000"/>
                </a:solidFill>
                <a:latin typeface="IBM Plex Sans Light"/>
                <a:ea typeface="IBM Plex Sans Light"/>
                <a:cs typeface="IBM Plex Sans Light"/>
                <a:sym typeface="IBM Plex Sans Light"/>
              </a:defRPr>
            </a:pPr>
            <a:r>
              <a:rPr kumimoji="0" sz="2200" b="1" i="0" u="none" strike="noStrike" kern="0" cap="none" spc="0" normalizeH="0" baseline="0" noProof="0">
                <a:ln>
                  <a:noFill/>
                </a:ln>
                <a:solidFill>
                  <a:srgbClr val="0F62FE"/>
                </a:solidFill>
                <a:effectLst/>
                <a:uLnTx/>
                <a:uFillTx/>
                <a:latin typeface="IBM Plex Sans"/>
                <a:ea typeface="IBM Plex Sans"/>
                <a:cs typeface="IBM Plex Sans"/>
                <a:sym typeface="IBM Plex Sans"/>
              </a:rPr>
              <a:t>Use case descriptions</a:t>
            </a:r>
            <a:r>
              <a:rPr kumimoji="0" sz="2200" b="0" i="0" u="none" strike="noStrike" kern="0" cap="none" spc="0" normalizeH="0" baseline="0" noProof="0">
                <a:ln>
                  <a:noFill/>
                </a:ln>
                <a:solidFill>
                  <a:srgbClr val="0F62FE"/>
                </a:solidFill>
                <a:effectLst/>
                <a:uLnTx/>
                <a:uFillTx/>
                <a:latin typeface="IBM Plex Sans Light"/>
                <a:sym typeface="IBM Plex Sans Light"/>
              </a:rPr>
              <a:t> </a:t>
            </a:r>
            <a:r>
              <a:rPr kumimoji="0" sz="2200" b="0" i="0" u="none" strike="noStrike" kern="0" cap="none" spc="0" normalizeH="0" baseline="0" noProof="0">
                <a:ln>
                  <a:noFill/>
                </a:ln>
                <a:solidFill>
                  <a:srgbClr val="000000"/>
                </a:solidFill>
                <a:effectLst/>
                <a:uLnTx/>
                <a:uFillTx/>
                <a:latin typeface="IBM Plex Sans Light"/>
                <a:sym typeface="IBM Plex Sans Light"/>
              </a:rPr>
              <a:t>that align your goal to your challenge, the process, and people that need to be impacted in order for you to achieve your goal</a:t>
            </a:r>
          </a:p>
          <a:p>
            <a:pPr marL="304800" marR="0" lvl="0" indent="-304800" algn="l" defTabSz="457200" rtl="0" eaLnBrk="1" fontAlgn="auto" latinLnBrk="0" hangingPunct="0">
              <a:lnSpc>
                <a:spcPct val="100000"/>
              </a:lnSpc>
              <a:spcBef>
                <a:spcPts val="700"/>
              </a:spcBef>
              <a:spcAft>
                <a:spcPts val="0"/>
              </a:spcAft>
              <a:buClrTx/>
              <a:buSzPct val="123000"/>
              <a:buFontTx/>
              <a:buChar char="•"/>
              <a:tabLst/>
              <a:defRPr sz="2200">
                <a:solidFill>
                  <a:srgbClr val="000000"/>
                </a:solidFill>
                <a:latin typeface="IBM Plex Sans Light"/>
                <a:ea typeface="IBM Plex Sans Light"/>
                <a:cs typeface="IBM Plex Sans Light"/>
                <a:sym typeface="IBM Plex Sans Light"/>
              </a:defRPr>
            </a:pPr>
            <a:r>
              <a:rPr kumimoji="0" sz="2200" b="1" i="0" u="none" strike="noStrike" kern="0" cap="none" spc="0" normalizeH="0" baseline="0" noProof="0">
                <a:ln>
                  <a:noFill/>
                </a:ln>
                <a:solidFill>
                  <a:srgbClr val="0F62FE"/>
                </a:solidFill>
                <a:effectLst/>
                <a:uLnTx/>
                <a:uFillTx/>
                <a:latin typeface="IBM Plex Sans"/>
                <a:ea typeface="IBM Plex Sans"/>
                <a:cs typeface="IBM Plex Sans"/>
                <a:sym typeface="IBM Plex Sans"/>
              </a:rPr>
              <a:t>A focused starting point</a:t>
            </a:r>
            <a:r>
              <a:rPr kumimoji="0" sz="2200" b="1" i="0" u="none" strike="noStrike" kern="0" cap="none" spc="0" normalizeH="0" baseline="0" noProof="0">
                <a:ln>
                  <a:noFill/>
                </a:ln>
                <a:solidFill>
                  <a:srgbClr val="000000"/>
                </a:solidFill>
                <a:effectLst/>
                <a:uLnTx/>
                <a:uFillTx/>
                <a:latin typeface="IBM Plex Sans"/>
                <a:ea typeface="IBM Plex Sans"/>
                <a:cs typeface="IBM Plex Sans"/>
                <a:sym typeface="IBM Plex Sans"/>
              </a:rPr>
              <a:t> </a:t>
            </a:r>
            <a:r>
              <a:rPr kumimoji="0" sz="2200" b="0" i="0" u="none" strike="noStrike" kern="0" cap="none" spc="0" normalizeH="0" baseline="0" noProof="0">
                <a:ln>
                  <a:noFill/>
                </a:ln>
                <a:solidFill>
                  <a:srgbClr val="000000"/>
                </a:solidFill>
                <a:effectLst/>
                <a:uLnTx/>
                <a:uFillTx/>
                <a:latin typeface="IBM Plex Sans Light"/>
                <a:sym typeface="IBM Plex Sans Light"/>
              </a:rPr>
              <a:t>to collaborate with IBM to and ensure that you get real value from your IBM investment</a:t>
            </a:r>
          </a:p>
          <a:p>
            <a:pPr marL="304800" marR="0" lvl="0" indent="-304800" algn="l" defTabSz="457200" rtl="0" eaLnBrk="1" fontAlgn="auto" latinLnBrk="0" hangingPunct="0">
              <a:lnSpc>
                <a:spcPct val="100000"/>
              </a:lnSpc>
              <a:spcBef>
                <a:spcPts val="700"/>
              </a:spcBef>
              <a:spcAft>
                <a:spcPts val="0"/>
              </a:spcAft>
              <a:buClrTx/>
              <a:buSzPct val="123000"/>
              <a:buFontTx/>
              <a:buChar char="•"/>
              <a:tabLst/>
              <a:defRPr sz="2200">
                <a:solidFill>
                  <a:srgbClr val="000000"/>
                </a:solidFill>
                <a:latin typeface="IBM Plex Sans Light"/>
                <a:ea typeface="IBM Plex Sans Light"/>
                <a:cs typeface="IBM Plex Sans Light"/>
                <a:sym typeface="IBM Plex Sans Light"/>
              </a:defRPr>
            </a:pPr>
            <a:r>
              <a:rPr kumimoji="0" sz="2200" b="1" i="0" u="none" strike="noStrike" kern="0" cap="none" spc="0" normalizeH="0" baseline="0" noProof="0">
                <a:ln>
                  <a:noFill/>
                </a:ln>
                <a:solidFill>
                  <a:srgbClr val="0F62FE"/>
                </a:solidFill>
                <a:effectLst/>
                <a:uLnTx/>
                <a:uFillTx/>
                <a:latin typeface="IBM Plex Sans"/>
                <a:ea typeface="IBM Plex Sans"/>
                <a:cs typeface="IBM Plex Sans"/>
                <a:sym typeface="IBM Plex Sans"/>
              </a:rPr>
              <a:t>Stakeholder alignment</a:t>
            </a:r>
            <a:r>
              <a:rPr kumimoji="0" sz="2200" b="0" i="0" u="none" strike="noStrike" kern="0" cap="none" spc="0" normalizeH="0" baseline="0" noProof="0">
                <a:ln>
                  <a:noFill/>
                </a:ln>
                <a:solidFill>
                  <a:srgbClr val="0F62FE"/>
                </a:solidFill>
                <a:effectLst/>
                <a:uLnTx/>
                <a:uFillTx/>
                <a:latin typeface="IBM Plex Sans Light"/>
                <a:sym typeface="IBM Plex Sans Light"/>
              </a:rPr>
              <a:t> </a:t>
            </a:r>
            <a:r>
              <a:rPr kumimoji="0" sz="2200" b="0" i="0" u="none" strike="noStrike" kern="0" cap="none" spc="0" normalizeH="0" baseline="0" noProof="0">
                <a:ln>
                  <a:noFill/>
                </a:ln>
                <a:solidFill>
                  <a:srgbClr val="000000"/>
                </a:solidFill>
                <a:effectLst/>
                <a:uLnTx/>
                <a:uFillTx/>
                <a:latin typeface="IBM Plex Sans Light"/>
                <a:sym typeface="IBM Plex Sans Light"/>
              </a:rPr>
              <a:t>on prioritized goals and challenges</a:t>
            </a:r>
          </a:p>
        </p:txBody>
      </p:sp>
      <p:sp>
        <p:nvSpPr>
          <p:cNvPr id="1897" name="What to Expect…"/>
          <p:cNvSpPr txBox="1"/>
          <p:nvPr/>
        </p:nvSpPr>
        <p:spPr>
          <a:xfrm>
            <a:off x="609600" y="3297263"/>
            <a:ext cx="5084528" cy="59563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l" defTabSz="825500" rtl="0" eaLnBrk="1" fontAlgn="auto" latinLnBrk="0" hangingPunct="0">
              <a:lnSpc>
                <a:spcPct val="100000"/>
              </a:lnSpc>
              <a:spcBef>
                <a:spcPts val="2100"/>
              </a:spcBef>
              <a:spcAft>
                <a:spcPts val="0"/>
              </a:spcAft>
              <a:buClrTx/>
              <a:buSzTx/>
              <a:buFontTx/>
              <a:buNone/>
              <a:tabLst/>
              <a:defRPr sz="3200" b="1">
                <a:solidFill>
                  <a:srgbClr val="000000"/>
                </a:solidFill>
                <a:latin typeface="IBM Plex Sans"/>
                <a:ea typeface="IBM Plex Sans"/>
                <a:cs typeface="IBM Plex Sans"/>
                <a:sym typeface="IBM Plex Sans"/>
              </a:defRPr>
            </a:pPr>
            <a:r>
              <a:rPr kumimoji="0" sz="3200" b="1" i="0" u="none" strike="noStrike" kern="0" cap="none" spc="0" normalizeH="0" baseline="0" noProof="0">
                <a:ln>
                  <a:noFill/>
                </a:ln>
                <a:solidFill>
                  <a:srgbClr val="000000"/>
                </a:solidFill>
                <a:effectLst/>
                <a:uLnTx/>
                <a:uFillTx/>
                <a:latin typeface="IBM Plex Sans"/>
                <a:sym typeface="IBM Plex Sans"/>
              </a:rPr>
              <a:t>What to Expect</a:t>
            </a:r>
          </a:p>
          <a:p>
            <a:pPr marL="0" marR="0" lvl="0" indent="0" algn="l" defTabSz="825500" rtl="0" eaLnBrk="1" fontAlgn="auto" latinLnBrk="0" hangingPunct="0">
              <a:lnSpc>
                <a:spcPct val="100000"/>
              </a:lnSpc>
              <a:spcBef>
                <a:spcPts val="2100"/>
              </a:spcBef>
              <a:spcAft>
                <a:spcPts val="0"/>
              </a:spcAft>
              <a:buClrTx/>
              <a:buSzTx/>
              <a:buFontTx/>
              <a:buNone/>
              <a:tabLst/>
              <a:defRPr sz="2200" b="1">
                <a:solidFill>
                  <a:srgbClr val="000000"/>
                </a:solidFill>
                <a:latin typeface="IBM Plex Sans"/>
                <a:ea typeface="IBM Plex Sans"/>
                <a:cs typeface="IBM Plex Sans"/>
                <a:sym typeface="IBM Plex Sans"/>
              </a:defRPr>
            </a:pPr>
            <a:r>
              <a:rPr kumimoji="0" sz="2200" b="1" i="0" u="none" strike="noStrike" kern="0" cap="none" spc="0" normalizeH="0" baseline="0" noProof="0">
                <a:ln>
                  <a:noFill/>
                </a:ln>
                <a:solidFill>
                  <a:srgbClr val="0F62FE"/>
                </a:solidFill>
                <a:effectLst/>
                <a:uLnTx/>
                <a:uFillTx/>
                <a:latin typeface="IBM Plex Sans"/>
                <a:sym typeface="IBM Plex Sans"/>
              </a:rPr>
              <a:t>Your team</a:t>
            </a:r>
            <a:r>
              <a:rPr kumimoji="0" sz="2200" b="1" i="0" u="none" strike="noStrike" kern="0" cap="none" spc="0" normalizeH="0" baseline="0" noProof="0">
                <a:ln>
                  <a:noFill/>
                </a:ln>
                <a:solidFill>
                  <a:srgbClr val="000000"/>
                </a:solidFill>
                <a:effectLst/>
                <a:uLnTx/>
                <a:uFillTx/>
                <a:latin typeface="IBM Plex Sans"/>
                <a:sym typeface="IBM Plex Sans"/>
              </a:rPr>
              <a:t> </a:t>
            </a:r>
            <a:r>
              <a:rPr kumimoji="0" sz="2200" b="0" i="0" u="none" strike="noStrike" kern="0" cap="none" spc="0" normalizeH="0" baseline="0" noProof="0">
                <a:ln>
                  <a:noFill/>
                </a:ln>
                <a:solidFill>
                  <a:srgbClr val="000000"/>
                </a:solidFill>
                <a:effectLst/>
                <a:uLnTx/>
                <a:uFillTx/>
                <a:latin typeface="IBM Plex Sans Light"/>
                <a:ea typeface="IBM Plex Sans Light"/>
                <a:cs typeface="IBM Plex Sans Light"/>
                <a:sym typeface="IBM Plex Sans Light"/>
              </a:rPr>
              <a:t>is guided through series of collaborative activities to explore your business goals and align them to the challenges that block or slow you down.</a:t>
            </a:r>
            <a:br>
              <a:rPr kumimoji="0" sz="2200" b="0" i="0" u="none" strike="noStrike" kern="0" cap="none" spc="0" normalizeH="0" baseline="0" noProof="0">
                <a:ln>
                  <a:noFill/>
                </a:ln>
                <a:solidFill>
                  <a:srgbClr val="000000"/>
                </a:solidFill>
                <a:effectLst/>
                <a:uLnTx/>
                <a:uFillTx/>
                <a:latin typeface="IBM Plex Sans"/>
                <a:sym typeface="IBM Plex Sans"/>
              </a:rPr>
            </a:br>
            <a:br>
              <a:rPr kumimoji="0" sz="2200" b="0" i="0" u="none" strike="noStrike" kern="0" cap="none" spc="0" normalizeH="0" baseline="0" noProof="0">
                <a:ln>
                  <a:noFill/>
                </a:ln>
                <a:solidFill>
                  <a:srgbClr val="000000"/>
                </a:solidFill>
                <a:effectLst/>
                <a:uLnTx/>
                <a:uFillTx/>
                <a:latin typeface="IBM Plex Sans"/>
                <a:sym typeface="IBM Plex Sans"/>
              </a:rPr>
            </a:br>
            <a:r>
              <a:rPr kumimoji="0" sz="2200" b="1" i="0" u="none" strike="noStrike" kern="0" cap="none" spc="0" normalizeH="0" baseline="0" noProof="0">
                <a:ln>
                  <a:noFill/>
                </a:ln>
                <a:solidFill>
                  <a:srgbClr val="0F62FE"/>
                </a:solidFill>
                <a:effectLst/>
                <a:uLnTx/>
                <a:uFillTx/>
                <a:latin typeface="IBM Plex Sans"/>
                <a:sym typeface="IBM Plex Sans"/>
              </a:rPr>
              <a:t>IBM experts</a:t>
            </a:r>
            <a:r>
              <a:rPr kumimoji="0" sz="2200" b="1" i="0" u="none" strike="noStrike" kern="0" cap="none" spc="0" normalizeH="0" baseline="0" noProof="0">
                <a:ln>
                  <a:noFill/>
                </a:ln>
                <a:solidFill>
                  <a:srgbClr val="000000"/>
                </a:solidFill>
                <a:effectLst/>
                <a:uLnTx/>
                <a:uFillTx/>
                <a:latin typeface="IBM Plex Sans"/>
                <a:sym typeface="IBM Plex Sans"/>
              </a:rPr>
              <a:t> </a:t>
            </a:r>
            <a:r>
              <a:rPr kumimoji="0" sz="2200" b="0" i="0" u="none" strike="noStrike" kern="0" cap="none" spc="0" normalizeH="0" baseline="0" noProof="0">
                <a:ln>
                  <a:noFill/>
                </a:ln>
                <a:solidFill>
                  <a:srgbClr val="000000"/>
                </a:solidFill>
                <a:effectLst/>
                <a:uLnTx/>
                <a:uFillTx/>
                <a:latin typeface="IBM Plex Sans Light"/>
                <a:ea typeface="IBM Plex Sans Light"/>
                <a:cs typeface="IBM Plex Sans Light"/>
                <a:sym typeface="IBM Plex Sans Light"/>
              </a:rPr>
              <a:t>work with you to uncover and describe opportunities as concrete use cases focused on the people who require the outcomes and the experiences that need to change.</a:t>
            </a:r>
            <a:endParaRPr kumimoji="0" sz="2200" b="0" i="0" u="none" strike="noStrike" kern="0" cap="none" spc="0" normalizeH="0" baseline="0" noProof="0">
              <a:ln>
                <a:noFill/>
              </a:ln>
              <a:solidFill>
                <a:srgbClr val="000000"/>
              </a:solidFill>
              <a:effectLst/>
              <a:uLnTx/>
              <a:uFillTx/>
              <a:latin typeface="IBM Plex Sans"/>
              <a:sym typeface="IBM Plex Sans"/>
            </a:endParaRPr>
          </a:p>
          <a:p>
            <a:pPr marL="0" marR="0" lvl="0" indent="0" algn="l" defTabSz="825500" rtl="0" eaLnBrk="1" fontAlgn="auto" latinLnBrk="0" hangingPunct="0">
              <a:lnSpc>
                <a:spcPct val="100000"/>
              </a:lnSpc>
              <a:spcBef>
                <a:spcPts val="2100"/>
              </a:spcBef>
              <a:spcAft>
                <a:spcPts val="0"/>
              </a:spcAft>
              <a:buClrTx/>
              <a:buSzTx/>
              <a:buFontTx/>
              <a:buNone/>
              <a:tabLst/>
              <a:defRPr sz="2200" b="1">
                <a:solidFill>
                  <a:srgbClr val="000000"/>
                </a:solidFill>
                <a:latin typeface="IBM Plex Sans"/>
                <a:ea typeface="IBM Plex Sans"/>
                <a:cs typeface="IBM Plex Sans"/>
                <a:sym typeface="IBM Plex Sans"/>
              </a:defRPr>
            </a:pPr>
            <a:r>
              <a:rPr kumimoji="0" sz="2200" b="1" i="0" u="none" strike="noStrike" kern="0" cap="none" spc="0" normalizeH="0" baseline="0" noProof="0">
                <a:ln>
                  <a:noFill/>
                </a:ln>
                <a:solidFill>
                  <a:srgbClr val="0F62FE"/>
                </a:solidFill>
                <a:effectLst/>
                <a:uLnTx/>
                <a:uFillTx/>
                <a:latin typeface="IBM Plex Sans"/>
                <a:sym typeface="IBM Plex Sans"/>
              </a:rPr>
              <a:t>Your team</a:t>
            </a:r>
            <a:r>
              <a:rPr kumimoji="0" sz="2200" b="1" i="0" u="none" strike="noStrike" kern="0" cap="none" spc="0" normalizeH="0" baseline="0" noProof="0">
                <a:ln>
                  <a:noFill/>
                </a:ln>
                <a:solidFill>
                  <a:srgbClr val="000000"/>
                </a:solidFill>
                <a:effectLst/>
                <a:uLnTx/>
                <a:uFillTx/>
                <a:latin typeface="IBM Plex Sans"/>
                <a:sym typeface="IBM Plex Sans"/>
              </a:rPr>
              <a:t> </a:t>
            </a:r>
            <a:r>
              <a:rPr kumimoji="0" sz="2200" b="0" i="0" u="none" strike="noStrike" kern="0" cap="none" spc="0" normalizeH="0" baseline="0" noProof="0">
                <a:ln>
                  <a:noFill/>
                </a:ln>
                <a:solidFill>
                  <a:srgbClr val="000000"/>
                </a:solidFill>
                <a:effectLst/>
                <a:uLnTx/>
                <a:uFillTx/>
                <a:latin typeface="IBM Plex Sans Light"/>
                <a:ea typeface="IBM Plex Sans Light"/>
                <a:cs typeface="IBM Plex Sans Light"/>
                <a:sym typeface="IBM Plex Sans Light"/>
              </a:rPr>
              <a:t>prioritises the opportunities that you would like to explore further with IBM.</a:t>
            </a:r>
          </a:p>
        </p:txBody>
      </p:sp>
      <p:sp>
        <p:nvSpPr>
          <p:cNvPr id="1898" name="You gain…"/>
          <p:cNvSpPr txBox="1"/>
          <p:nvPr/>
        </p:nvSpPr>
        <p:spPr>
          <a:xfrm>
            <a:off x="12776051" y="513532"/>
            <a:ext cx="4943177" cy="15875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l" defTabSz="457200" rtl="0" eaLnBrk="1" fontAlgn="auto" latinLnBrk="0" hangingPunct="0">
              <a:lnSpc>
                <a:spcPct val="100000"/>
              </a:lnSpc>
              <a:spcBef>
                <a:spcPts val="2100"/>
              </a:spcBef>
              <a:spcAft>
                <a:spcPts val="0"/>
              </a:spcAft>
              <a:buClrTx/>
              <a:buSzTx/>
              <a:buFontTx/>
              <a:buNone/>
              <a:tabLst/>
              <a:defRPr sz="3200" b="1">
                <a:solidFill>
                  <a:srgbClr val="000000"/>
                </a:solidFill>
                <a:latin typeface="IBM Plex Sans"/>
                <a:ea typeface="IBM Plex Sans"/>
                <a:cs typeface="IBM Plex Sans"/>
                <a:sym typeface="IBM Plex Sans"/>
              </a:defRPr>
            </a:pPr>
            <a:r>
              <a:rPr kumimoji="0" sz="3200" b="1" i="0" u="none" strike="noStrike" kern="0" cap="none" spc="0" normalizeH="0" baseline="0" noProof="0">
                <a:ln>
                  <a:noFill/>
                </a:ln>
                <a:solidFill>
                  <a:srgbClr val="000000"/>
                </a:solidFill>
                <a:effectLst/>
                <a:uLnTx/>
                <a:uFillTx/>
                <a:latin typeface="IBM Plex Sans"/>
                <a:sym typeface="IBM Plex Sans"/>
              </a:rPr>
              <a:t>Example Activities</a:t>
            </a:r>
          </a:p>
          <a:p>
            <a:pPr marL="0" marR="0" lvl="0" indent="0" algn="l" defTabSz="825500" rtl="0" eaLnBrk="1" fontAlgn="auto" latinLnBrk="0" hangingPunct="0">
              <a:lnSpc>
                <a:spcPct val="100000"/>
              </a:lnSpc>
              <a:spcBef>
                <a:spcPts val="0"/>
              </a:spcBef>
              <a:spcAft>
                <a:spcPts val="0"/>
              </a:spcAft>
              <a:buClrTx/>
              <a:buSzTx/>
              <a:buFontTx/>
              <a:buNone/>
              <a:tabLst/>
              <a:defRPr sz="2000" b="1">
                <a:solidFill>
                  <a:srgbClr val="000000"/>
                </a:solidFill>
                <a:latin typeface="IBM Plex Sans"/>
                <a:ea typeface="IBM Plex Sans"/>
                <a:cs typeface="IBM Plex Sans"/>
                <a:sym typeface="IBM Plex Sans"/>
              </a:defRPr>
            </a:pPr>
            <a:r>
              <a:rPr kumimoji="0" sz="2000" b="1" i="0" u="none" strike="noStrike" kern="0" cap="none" spc="0" normalizeH="0" baseline="0" noProof="0">
                <a:ln>
                  <a:noFill/>
                </a:ln>
                <a:solidFill>
                  <a:srgbClr val="0F62FE"/>
                </a:solidFill>
                <a:effectLst/>
                <a:uLnTx/>
                <a:uFillTx/>
                <a:latin typeface="IBM Plex Sans"/>
                <a:sym typeface="IBM Plex Sans"/>
              </a:rPr>
              <a:t>Your Business Landscape</a:t>
            </a:r>
          </a:p>
          <a:p>
            <a:pPr marL="0" marR="0" lvl="0" indent="0" algn="l" defTabSz="8255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Quickly outline your goals and challenges.</a:t>
            </a:r>
          </a:p>
        </p:txBody>
      </p:sp>
      <p:sp>
        <p:nvSpPr>
          <p:cNvPr id="1899" name="4 hours, no-charge, big value"/>
          <p:cNvSpPr txBox="1"/>
          <p:nvPr/>
        </p:nvSpPr>
        <p:spPr>
          <a:xfrm>
            <a:off x="578561" y="1377303"/>
            <a:ext cx="10282307" cy="4445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lvl1pPr algn="l" defTabSz="457200">
              <a:defRPr sz="2000">
                <a:solidFill>
                  <a:srgbClr val="0064FF"/>
                </a:solidFill>
                <a:latin typeface="IBM Plex Sans Light"/>
                <a:ea typeface="IBM Plex Sans Light"/>
                <a:cs typeface="IBM Plex Sans Light"/>
                <a:sym typeface="IBM Plex Sans Light"/>
              </a:defRPr>
            </a:lvl1p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64FF"/>
                </a:solidFill>
                <a:effectLst/>
                <a:uLnTx/>
                <a:uFillTx/>
                <a:latin typeface="IBM Plex Sans Light"/>
                <a:sym typeface="IBM Plex Sans Light"/>
              </a:rPr>
              <a:t>Explore opportunities to get the most value from your IBM subscription.</a:t>
            </a:r>
          </a:p>
        </p:txBody>
      </p:sp>
      <p:sp>
        <p:nvSpPr>
          <p:cNvPr id="1900" name="You gain…"/>
          <p:cNvSpPr txBox="1"/>
          <p:nvPr/>
        </p:nvSpPr>
        <p:spPr>
          <a:xfrm>
            <a:off x="12769770" y="2279649"/>
            <a:ext cx="4866049" cy="14732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l" defTabSz="825500" rtl="0" eaLnBrk="1" fontAlgn="auto" latinLnBrk="0" hangingPunct="0">
              <a:lnSpc>
                <a:spcPct val="100000"/>
              </a:lnSpc>
              <a:spcBef>
                <a:spcPts val="0"/>
              </a:spcBef>
              <a:spcAft>
                <a:spcPts val="0"/>
              </a:spcAft>
              <a:buClrTx/>
              <a:buSzTx/>
              <a:buFontTx/>
              <a:buNone/>
              <a:tabLst/>
              <a:defRPr sz="2000" b="1">
                <a:solidFill>
                  <a:srgbClr val="000000"/>
                </a:solidFill>
                <a:latin typeface="IBM Plex Sans"/>
                <a:ea typeface="IBM Plex Sans"/>
                <a:cs typeface="IBM Plex Sans"/>
                <a:sym typeface="IBM Plex Sans"/>
              </a:defRPr>
            </a:pPr>
            <a:r>
              <a:rPr kumimoji="0" sz="2000" b="1" i="0" u="none" strike="noStrike" kern="0" cap="none" spc="0" normalizeH="0" baseline="0" noProof="0">
                <a:ln>
                  <a:noFill/>
                </a:ln>
                <a:solidFill>
                  <a:srgbClr val="0F62FE"/>
                </a:solidFill>
                <a:effectLst/>
                <a:uLnTx/>
                <a:uFillTx/>
                <a:latin typeface="IBM Plex Sans"/>
                <a:sym typeface="IBM Plex Sans"/>
              </a:rPr>
              <a:t>Opportunity Alignment</a:t>
            </a:r>
          </a:p>
          <a:p>
            <a:pPr marL="0" marR="0" lvl="0" indent="0" algn="l" defTabSz="8255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Identify IBM capabilities that can help you with your challenges and bring you closer to your goal.</a:t>
            </a:r>
          </a:p>
        </p:txBody>
      </p:sp>
      <p:sp>
        <p:nvSpPr>
          <p:cNvPr id="1901" name="You gain…"/>
          <p:cNvSpPr txBox="1"/>
          <p:nvPr/>
        </p:nvSpPr>
        <p:spPr>
          <a:xfrm>
            <a:off x="20082101" y="-3804468"/>
            <a:ext cx="4943177" cy="30226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l" defTabSz="457200" rtl="0" eaLnBrk="1" fontAlgn="auto" latinLnBrk="0" hangingPunct="0">
              <a:lnSpc>
                <a:spcPct val="100000"/>
              </a:lnSpc>
              <a:spcBef>
                <a:spcPts val="2100"/>
              </a:spcBef>
              <a:spcAft>
                <a:spcPts val="0"/>
              </a:spcAft>
              <a:buClrTx/>
              <a:buSzTx/>
              <a:buFontTx/>
              <a:buNone/>
              <a:tabLst/>
              <a:defRPr sz="3200" b="1">
                <a:solidFill>
                  <a:srgbClr val="000000"/>
                </a:solidFill>
                <a:latin typeface="IBM Plex Sans"/>
                <a:ea typeface="IBM Plex Sans"/>
                <a:cs typeface="IBM Plex Sans"/>
                <a:sym typeface="IBM Plex Sans"/>
              </a:defRPr>
            </a:pPr>
            <a:endParaRPr kumimoji="0" sz="3200" b="1" i="0" u="none" strike="noStrike" kern="0" cap="none" spc="0" normalizeH="0" baseline="0" noProof="0">
              <a:ln>
                <a:noFill/>
              </a:ln>
              <a:solidFill>
                <a:srgbClr val="000000"/>
              </a:solidFill>
              <a:effectLst/>
              <a:uLnTx/>
              <a:uFillTx/>
              <a:latin typeface="IBM Plex Sans"/>
              <a:sym typeface="IBM Plex Sans"/>
            </a:endParaRPr>
          </a:p>
          <a:p>
            <a:pPr marL="0" marR="0" lvl="0" indent="0" algn="l" defTabSz="825500" rtl="0" eaLnBrk="1" fontAlgn="auto" latinLnBrk="0" hangingPunct="0">
              <a:lnSpc>
                <a:spcPct val="100000"/>
              </a:lnSpc>
              <a:spcBef>
                <a:spcPts val="0"/>
              </a:spcBef>
              <a:spcAft>
                <a:spcPts val="0"/>
              </a:spcAft>
              <a:buClrTx/>
              <a:buSzTx/>
              <a:buFontTx/>
              <a:buNone/>
              <a:tabLst/>
              <a:defRPr b="1">
                <a:solidFill>
                  <a:srgbClr val="000000"/>
                </a:solidFill>
                <a:latin typeface="IBM Plex Sans"/>
                <a:ea typeface="IBM Plex Sans"/>
                <a:cs typeface="IBM Plex Sans"/>
                <a:sym typeface="IBM Plex Sans"/>
              </a:defRPr>
            </a:pPr>
            <a:r>
              <a:rPr kumimoji="0" sz="2400" b="1" i="0" u="none" strike="noStrike" kern="0" cap="none" spc="0" normalizeH="0" baseline="0" noProof="0">
                <a:ln>
                  <a:noFill/>
                </a:ln>
                <a:solidFill>
                  <a:srgbClr val="0F62FE"/>
                </a:solidFill>
                <a:effectLst/>
                <a:uLnTx/>
                <a:uFillTx/>
                <a:latin typeface="IBM Plex Sans"/>
                <a:sym typeface="IBM Plex Sans"/>
              </a:rPr>
              <a:t>Opportunity Statement</a:t>
            </a:r>
          </a:p>
          <a:p>
            <a:pPr marL="0" marR="0" lvl="0" indent="0" algn="l" defTabSz="8255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A more detailed exploration of the use case, related to the opportunity, that concretely describes the system or experience to impact and the people who will benefit from the outcome.</a:t>
            </a:r>
          </a:p>
        </p:txBody>
      </p:sp>
      <p:sp>
        <p:nvSpPr>
          <p:cNvPr id="1902" name="You gain…"/>
          <p:cNvSpPr txBox="1"/>
          <p:nvPr/>
        </p:nvSpPr>
        <p:spPr>
          <a:xfrm>
            <a:off x="12803354" y="7598730"/>
            <a:ext cx="4943177" cy="14732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l" defTabSz="825500" rtl="0" eaLnBrk="1" fontAlgn="auto" latinLnBrk="0" hangingPunct="0">
              <a:lnSpc>
                <a:spcPct val="100000"/>
              </a:lnSpc>
              <a:spcBef>
                <a:spcPts val="0"/>
              </a:spcBef>
              <a:spcAft>
                <a:spcPts val="0"/>
              </a:spcAft>
              <a:buClrTx/>
              <a:buSzTx/>
              <a:buFontTx/>
              <a:buNone/>
              <a:tabLst/>
              <a:defRPr sz="2000" b="1">
                <a:solidFill>
                  <a:srgbClr val="000000"/>
                </a:solidFill>
                <a:latin typeface="IBM Plex Sans"/>
                <a:ea typeface="IBM Plex Sans"/>
                <a:cs typeface="IBM Plex Sans"/>
                <a:sym typeface="IBM Plex Sans"/>
              </a:defRPr>
            </a:pPr>
            <a:r>
              <a:rPr kumimoji="0" sz="2000" b="1" i="0" u="none" strike="noStrike" kern="0" cap="none" spc="0" normalizeH="0" baseline="0" noProof="0">
                <a:ln>
                  <a:noFill/>
                </a:ln>
                <a:solidFill>
                  <a:srgbClr val="0F62FE"/>
                </a:solidFill>
                <a:effectLst/>
                <a:uLnTx/>
                <a:uFillTx/>
                <a:latin typeface="IBM Plex Sans"/>
                <a:sym typeface="IBM Plex Sans"/>
              </a:rPr>
              <a:t>Opportunity Prioritization</a:t>
            </a:r>
          </a:p>
          <a:p>
            <a:pPr marL="0" marR="0" lvl="0" indent="0" algn="l" defTabSz="8255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Focus in on the opportunities to advance that will deliver the most value for your team or department.</a:t>
            </a:r>
          </a:p>
        </p:txBody>
      </p:sp>
      <p:sp>
        <p:nvSpPr>
          <p:cNvPr id="1903" name="Rectangle"/>
          <p:cNvSpPr/>
          <p:nvPr/>
        </p:nvSpPr>
        <p:spPr>
          <a:xfrm>
            <a:off x="18901001" y="4001115"/>
            <a:ext cx="4888571" cy="7996437"/>
          </a:xfrm>
          <a:prstGeom prst="rect">
            <a:avLst/>
          </a:prstGeom>
          <a:solidFill>
            <a:srgbClr val="FFFFFF"/>
          </a:solidFill>
          <a:ln w="25400">
            <a:solidFill>
              <a:srgbClr val="A7A7A7"/>
            </a:solidFill>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sz="2300"/>
            </a:pPr>
            <a:endParaRPr kumimoji="0" sz="23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04" name="Rectangle"/>
          <p:cNvSpPr/>
          <p:nvPr/>
        </p:nvSpPr>
        <p:spPr>
          <a:xfrm>
            <a:off x="12830657" y="3944167"/>
            <a:ext cx="4888571" cy="3442687"/>
          </a:xfrm>
          <a:prstGeom prst="rect">
            <a:avLst/>
          </a:prstGeom>
          <a:solidFill>
            <a:srgbClr val="FFFFFF"/>
          </a:solidFill>
          <a:ln w="25400">
            <a:solidFill>
              <a:srgbClr val="A7A7A7"/>
            </a:solidFill>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05" name="Line"/>
          <p:cNvSpPr/>
          <p:nvPr/>
        </p:nvSpPr>
        <p:spPr>
          <a:xfrm>
            <a:off x="14246445" y="4419542"/>
            <a:ext cx="726516" cy="1"/>
          </a:xfrm>
          <a:prstGeom prst="line">
            <a:avLst/>
          </a:prstGeom>
          <a:ln w="38100">
            <a:solidFill>
              <a:srgbClr val="A7A7A7"/>
            </a:solidFill>
            <a:miter lim="400000"/>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06" name="Line"/>
          <p:cNvSpPr/>
          <p:nvPr/>
        </p:nvSpPr>
        <p:spPr>
          <a:xfrm>
            <a:off x="14243347" y="4967993"/>
            <a:ext cx="732712" cy="1"/>
          </a:xfrm>
          <a:prstGeom prst="line">
            <a:avLst/>
          </a:prstGeom>
          <a:ln w="38100">
            <a:solidFill>
              <a:srgbClr val="A7A7A7"/>
            </a:solidFill>
            <a:miter lim="400000"/>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07" name="Line"/>
          <p:cNvSpPr/>
          <p:nvPr/>
        </p:nvSpPr>
        <p:spPr>
          <a:xfrm flipV="1">
            <a:off x="16139418" y="4803972"/>
            <a:ext cx="704019" cy="154855"/>
          </a:xfrm>
          <a:prstGeom prst="line">
            <a:avLst/>
          </a:prstGeom>
          <a:ln w="38100">
            <a:solidFill>
              <a:srgbClr val="A7A7A7"/>
            </a:solidFill>
            <a:miter lim="400000"/>
            <a:tailEnd type="triangle"/>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08" name="Line"/>
          <p:cNvSpPr/>
          <p:nvPr/>
        </p:nvSpPr>
        <p:spPr>
          <a:xfrm>
            <a:off x="16149707" y="6627012"/>
            <a:ext cx="714365" cy="1"/>
          </a:xfrm>
          <a:prstGeom prst="line">
            <a:avLst/>
          </a:prstGeom>
          <a:ln w="38100">
            <a:solidFill>
              <a:srgbClr val="A7A7A7"/>
            </a:solidFill>
            <a:miter lim="400000"/>
            <a:tailEnd type="triangle"/>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09" name="Line"/>
          <p:cNvSpPr/>
          <p:nvPr/>
        </p:nvSpPr>
        <p:spPr>
          <a:xfrm>
            <a:off x="14221045" y="5669624"/>
            <a:ext cx="729614" cy="1"/>
          </a:xfrm>
          <a:prstGeom prst="line">
            <a:avLst/>
          </a:prstGeom>
          <a:ln w="38100">
            <a:solidFill>
              <a:srgbClr val="A7A7A7"/>
            </a:solidFill>
            <a:miter lim="400000"/>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10" name="Line"/>
          <p:cNvSpPr/>
          <p:nvPr/>
        </p:nvSpPr>
        <p:spPr>
          <a:xfrm flipV="1">
            <a:off x="14257998" y="6761372"/>
            <a:ext cx="704019" cy="154856"/>
          </a:xfrm>
          <a:prstGeom prst="line">
            <a:avLst/>
          </a:prstGeom>
          <a:ln w="38100">
            <a:solidFill>
              <a:srgbClr val="A7A7A7"/>
            </a:solidFill>
            <a:miter lim="400000"/>
            <a:tailEnd type="triangle"/>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11" name="Goal"/>
          <p:cNvSpPr/>
          <p:nvPr/>
        </p:nvSpPr>
        <p:spPr>
          <a:xfrm>
            <a:off x="16863502" y="6384745"/>
            <a:ext cx="607505" cy="484535"/>
          </a:xfrm>
          <a:prstGeom prst="rect">
            <a:avLst/>
          </a:prstGeom>
          <a:solidFill>
            <a:srgbClr val="6FDC8C"/>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0E6027"/>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Goal</a:t>
            </a:r>
          </a:p>
        </p:txBody>
      </p:sp>
      <p:sp>
        <p:nvSpPr>
          <p:cNvPr id="1912" name="Goal"/>
          <p:cNvSpPr/>
          <p:nvPr/>
        </p:nvSpPr>
        <p:spPr>
          <a:xfrm>
            <a:off x="16863502" y="4404385"/>
            <a:ext cx="607505" cy="484535"/>
          </a:xfrm>
          <a:prstGeom prst="rect">
            <a:avLst/>
          </a:prstGeom>
          <a:solidFill>
            <a:srgbClr val="6FDC8C"/>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0E6027"/>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Goal</a:t>
            </a:r>
          </a:p>
        </p:txBody>
      </p:sp>
      <p:sp>
        <p:nvSpPr>
          <p:cNvPr id="1913" name="Goal"/>
          <p:cNvSpPr/>
          <p:nvPr/>
        </p:nvSpPr>
        <p:spPr>
          <a:xfrm>
            <a:off x="16859727" y="5427357"/>
            <a:ext cx="607505" cy="484535"/>
          </a:xfrm>
          <a:prstGeom prst="rect">
            <a:avLst/>
          </a:prstGeom>
          <a:solidFill>
            <a:srgbClr val="6FDC8C"/>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0E6027"/>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Goal</a:t>
            </a:r>
          </a:p>
        </p:txBody>
      </p:sp>
      <p:sp>
        <p:nvSpPr>
          <p:cNvPr id="1914" name="Capability"/>
          <p:cNvSpPr/>
          <p:nvPr/>
        </p:nvSpPr>
        <p:spPr>
          <a:xfrm>
            <a:off x="14938880" y="4164575"/>
            <a:ext cx="1217367" cy="484535"/>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15" name="Capability"/>
          <p:cNvSpPr/>
          <p:nvPr/>
        </p:nvSpPr>
        <p:spPr>
          <a:xfrm>
            <a:off x="14937531" y="4730832"/>
            <a:ext cx="1217367" cy="484535"/>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16" name="Capability"/>
          <p:cNvSpPr/>
          <p:nvPr/>
        </p:nvSpPr>
        <p:spPr>
          <a:xfrm>
            <a:off x="14938880" y="5427357"/>
            <a:ext cx="1217367" cy="484535"/>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17" name="Capability"/>
          <p:cNvSpPr/>
          <p:nvPr/>
        </p:nvSpPr>
        <p:spPr>
          <a:xfrm>
            <a:off x="14937533" y="6372045"/>
            <a:ext cx="1217367" cy="484535"/>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18" name="Challenge"/>
          <p:cNvSpPr/>
          <p:nvPr/>
        </p:nvSpPr>
        <p:spPr>
          <a:xfrm>
            <a:off x="12993323" y="5427357"/>
            <a:ext cx="1217368" cy="484535"/>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19" name="Challenge"/>
          <p:cNvSpPr/>
          <p:nvPr/>
        </p:nvSpPr>
        <p:spPr>
          <a:xfrm>
            <a:off x="13016687" y="4730832"/>
            <a:ext cx="1217367" cy="484535"/>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20" name="Challenge"/>
          <p:cNvSpPr/>
          <p:nvPr/>
        </p:nvSpPr>
        <p:spPr>
          <a:xfrm>
            <a:off x="13017858" y="6686575"/>
            <a:ext cx="1217367" cy="484535"/>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21" name="Challenge"/>
          <p:cNvSpPr/>
          <p:nvPr/>
        </p:nvSpPr>
        <p:spPr>
          <a:xfrm>
            <a:off x="13017858" y="6113590"/>
            <a:ext cx="1217367" cy="484535"/>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22" name="Challenge"/>
          <p:cNvSpPr/>
          <p:nvPr/>
        </p:nvSpPr>
        <p:spPr>
          <a:xfrm>
            <a:off x="13016687" y="4164575"/>
            <a:ext cx="1217367" cy="484535"/>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23" name="Line"/>
          <p:cNvSpPr/>
          <p:nvPr/>
        </p:nvSpPr>
        <p:spPr>
          <a:xfrm>
            <a:off x="14257998" y="6363003"/>
            <a:ext cx="704019" cy="154855"/>
          </a:xfrm>
          <a:prstGeom prst="line">
            <a:avLst/>
          </a:prstGeom>
          <a:ln w="38100">
            <a:solidFill>
              <a:srgbClr val="A7A7A7"/>
            </a:solidFill>
            <a:miter lim="400000"/>
            <a:tailEnd type="triangle"/>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24" name="Line"/>
          <p:cNvSpPr/>
          <p:nvPr/>
        </p:nvSpPr>
        <p:spPr>
          <a:xfrm>
            <a:off x="16156927" y="4395178"/>
            <a:ext cx="704019" cy="154855"/>
          </a:xfrm>
          <a:prstGeom prst="line">
            <a:avLst/>
          </a:prstGeom>
          <a:ln w="38100">
            <a:solidFill>
              <a:srgbClr val="A7A7A7"/>
            </a:solidFill>
            <a:miter lim="400000"/>
            <a:tailEnd type="triangle"/>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25" name="Line"/>
          <p:cNvSpPr/>
          <p:nvPr/>
        </p:nvSpPr>
        <p:spPr>
          <a:xfrm>
            <a:off x="16128220" y="5671860"/>
            <a:ext cx="714365" cy="1"/>
          </a:xfrm>
          <a:prstGeom prst="line">
            <a:avLst/>
          </a:prstGeom>
          <a:ln w="38100">
            <a:solidFill>
              <a:srgbClr val="A7A7A7"/>
            </a:solidFill>
            <a:miter lim="400000"/>
            <a:tailEnd type="triangle"/>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26" name="We have a problem/challenge:…"/>
          <p:cNvSpPr txBox="1"/>
          <p:nvPr/>
        </p:nvSpPr>
        <p:spPr>
          <a:xfrm>
            <a:off x="19102585" y="4110063"/>
            <a:ext cx="4485402" cy="7112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r>
              <a:rPr kumimoji="0" sz="1700" b="0" i="0" u="none" strike="noStrike" kern="0" cap="none" spc="0" normalizeH="0" baseline="0" noProof="0">
                <a:ln>
                  <a:noFill/>
                </a:ln>
                <a:solidFill>
                  <a:srgbClr val="5E5E5E"/>
                </a:solidFill>
                <a:effectLst/>
                <a:uLnTx/>
                <a:uFillTx/>
                <a:latin typeface="IBM Plex Sans"/>
                <a:sym typeface="IBM Plex Sans"/>
              </a:rPr>
              <a:t>We have a problem/challenge:</a:t>
            </a: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endParaRPr kumimoji="0" sz="1700" b="0" i="0" u="none" strike="noStrike" kern="0" cap="none" spc="0" normalizeH="0" baseline="0" noProof="0">
              <a:ln>
                <a:noFill/>
              </a:ln>
              <a:solidFill>
                <a:srgbClr val="5E5E5E"/>
              </a:solidFill>
              <a:effectLst/>
              <a:uLnTx/>
              <a:uFillTx/>
              <a:latin typeface="IBM Plex Sans"/>
              <a:sym typeface="IBM Plex Sans"/>
            </a:endParaRP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r>
              <a:rPr kumimoji="0" sz="1700" b="0" i="0" u="none" strike="noStrike" kern="0" cap="none" spc="0" normalizeH="0" baseline="0" noProof="0">
                <a:ln>
                  <a:noFill/>
                </a:ln>
                <a:solidFill>
                  <a:srgbClr val="5E5E5E"/>
                </a:solidFill>
                <a:effectLst/>
                <a:uLnTx/>
                <a:uFillTx/>
                <a:latin typeface="IBM Plex Sans"/>
                <a:sym typeface="IBM Plex Sans"/>
              </a:rPr>
              <a:t>The impact on our business/team is:</a:t>
            </a: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endParaRPr kumimoji="0" sz="1700" b="0" i="0" u="none" strike="noStrike" kern="0" cap="none" spc="0" normalizeH="0" baseline="0" noProof="0">
              <a:ln>
                <a:noFill/>
              </a:ln>
              <a:solidFill>
                <a:srgbClr val="5E5E5E"/>
              </a:solidFill>
              <a:effectLst/>
              <a:uLnTx/>
              <a:uFillTx/>
              <a:latin typeface="IBM Plex Sans"/>
              <a:sym typeface="IBM Plex Sans"/>
            </a:endParaRPr>
          </a:p>
          <a:p>
            <a:pPr marL="0" marR="0" lvl="0" indent="0" algn="l" defTabSz="2438337" rtl="0" eaLnBrk="1" fontAlgn="auto" latinLnBrk="0" hangingPunct="0">
              <a:lnSpc>
                <a:spcPct val="100000"/>
              </a:lnSpc>
              <a:spcBef>
                <a:spcPts val="900"/>
              </a:spcBef>
              <a:spcAft>
                <a:spcPts val="0"/>
              </a:spcAft>
              <a:buClrTx/>
              <a:buSzTx/>
              <a:buFontTx/>
              <a:buNone/>
              <a:tabLst/>
              <a:defRPr sz="1700">
                <a:latin typeface="IBM Plex Sans"/>
                <a:ea typeface="IBM Plex Sans"/>
                <a:cs typeface="IBM Plex Sans"/>
                <a:sym typeface="IBM Plex Sans"/>
              </a:defRPr>
            </a:pPr>
            <a:r>
              <a:rPr kumimoji="0" sz="1700" b="0" i="0" u="none" strike="noStrike" kern="0" cap="none" spc="0" normalizeH="0" baseline="0" noProof="0">
                <a:ln>
                  <a:noFill/>
                </a:ln>
                <a:solidFill>
                  <a:srgbClr val="5E5E5E"/>
                </a:solidFill>
                <a:effectLst/>
                <a:uLnTx/>
                <a:uFillTx/>
                <a:latin typeface="IBM Plex Sans"/>
                <a:sym typeface="IBM Plex Sans"/>
              </a:rPr>
              <a:t>We know we have a problem, because we can see/hear</a:t>
            </a:r>
          </a:p>
          <a:p>
            <a:pPr marL="0" marR="0" lvl="0" indent="0" algn="l" defTabSz="2438337" rtl="0" eaLnBrk="1" fontAlgn="auto" latinLnBrk="0" hangingPunct="0">
              <a:lnSpc>
                <a:spcPct val="100000"/>
              </a:lnSpc>
              <a:spcBef>
                <a:spcPts val="900"/>
              </a:spcBef>
              <a:spcAft>
                <a:spcPts val="0"/>
              </a:spcAft>
              <a:buClrTx/>
              <a:buSzTx/>
              <a:buFontTx/>
              <a:buNone/>
              <a:tabLst/>
              <a:defRPr sz="1700">
                <a:latin typeface="IBM Plex Sans"/>
                <a:ea typeface="IBM Plex Sans"/>
                <a:cs typeface="IBM Plex Sans"/>
                <a:sym typeface="IBM Plex Sans"/>
              </a:defRPr>
            </a:pPr>
            <a:endParaRPr kumimoji="0" sz="1700" b="0" i="0" u="none" strike="noStrike" kern="0" cap="none" spc="0" normalizeH="0" baseline="0" noProof="0">
              <a:ln>
                <a:noFill/>
              </a:ln>
              <a:solidFill>
                <a:srgbClr val="5E5E5E"/>
              </a:solidFill>
              <a:effectLst/>
              <a:uLnTx/>
              <a:uFillTx/>
              <a:latin typeface="IBM Plex Sans"/>
              <a:sym typeface="IBM Plex Sans"/>
            </a:endParaRP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endParaRPr kumimoji="0" sz="1700" b="0" i="0" u="none" strike="noStrike" kern="0" cap="none" spc="0" normalizeH="0" baseline="0" noProof="0">
              <a:ln>
                <a:noFill/>
              </a:ln>
              <a:solidFill>
                <a:srgbClr val="5E5E5E"/>
              </a:solidFill>
              <a:effectLst/>
              <a:uLnTx/>
              <a:uFillTx/>
              <a:latin typeface="IBM Plex Sans"/>
              <a:sym typeface="IBM Plex Sans"/>
            </a:endParaRP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r>
              <a:rPr kumimoji="0" sz="1700" b="0" i="0" u="none" strike="noStrike" kern="0" cap="none" spc="0" normalizeH="0" baseline="0" noProof="0">
                <a:ln>
                  <a:noFill/>
                </a:ln>
                <a:solidFill>
                  <a:srgbClr val="5E5E5E"/>
                </a:solidFill>
                <a:effectLst/>
                <a:uLnTx/>
                <a:uFillTx/>
                <a:latin typeface="IBM Plex Sans"/>
                <a:sym typeface="IBM Plex Sans"/>
              </a:rPr>
              <a:t>The people and processes we need to impact:</a:t>
            </a: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endParaRPr kumimoji="0" sz="1700" b="0" i="0" u="none" strike="noStrike" kern="0" cap="none" spc="0" normalizeH="0" baseline="0" noProof="0">
              <a:ln>
                <a:noFill/>
              </a:ln>
              <a:solidFill>
                <a:srgbClr val="5E5E5E"/>
              </a:solidFill>
              <a:effectLst/>
              <a:uLnTx/>
              <a:uFillTx/>
              <a:latin typeface="IBM Plex Sans"/>
              <a:sym typeface="IBM Plex Sans"/>
            </a:endParaRP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r>
              <a:rPr kumimoji="0" sz="1700" b="0" i="0" u="none" strike="noStrike" kern="0" cap="none" spc="0" normalizeH="0" baseline="0" noProof="0">
                <a:ln>
                  <a:noFill/>
                </a:ln>
                <a:solidFill>
                  <a:srgbClr val="5E5E5E"/>
                </a:solidFill>
                <a:effectLst/>
                <a:uLnTx/>
                <a:uFillTx/>
                <a:latin typeface="IBM Plex Sans"/>
                <a:sym typeface="IBM Plex Sans"/>
              </a:rPr>
              <a:t>We would like to explore the opportunities provided by:</a:t>
            </a: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endParaRPr kumimoji="0" sz="1700" b="0" i="0" u="none" strike="noStrike" kern="0" cap="none" spc="0" normalizeH="0" baseline="0" noProof="0">
              <a:ln>
                <a:noFill/>
              </a:ln>
              <a:solidFill>
                <a:srgbClr val="5E5E5E"/>
              </a:solidFill>
              <a:effectLst/>
              <a:uLnTx/>
              <a:uFillTx/>
              <a:latin typeface="IBM Plex Sans"/>
              <a:sym typeface="IBM Plex Sans"/>
            </a:endParaRP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r>
              <a:rPr kumimoji="0" sz="1700" b="0" i="0" u="none" strike="noStrike" kern="0" cap="none" spc="0" normalizeH="0" baseline="0" noProof="0">
                <a:ln>
                  <a:noFill/>
                </a:ln>
                <a:solidFill>
                  <a:srgbClr val="5E5E5E"/>
                </a:solidFill>
                <a:effectLst/>
                <a:uLnTx/>
                <a:uFillTx/>
                <a:latin typeface="IBM Plex Sans"/>
                <a:sym typeface="IBM Plex Sans"/>
              </a:rPr>
              <a:t>If we address the challenge, we expect to see:</a:t>
            </a:r>
          </a:p>
        </p:txBody>
      </p:sp>
      <p:sp>
        <p:nvSpPr>
          <p:cNvPr id="1927" name="Challenge"/>
          <p:cNvSpPr/>
          <p:nvPr/>
        </p:nvSpPr>
        <p:spPr>
          <a:xfrm>
            <a:off x="19140124" y="4554820"/>
            <a:ext cx="1217367" cy="484535"/>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algn="l" defTabSz="2438337">
              <a:defRPr sz="1600" b="1">
                <a:solidFill>
                  <a:srgbClr val="A2191F"/>
                </a:solidFill>
              </a:defRPr>
            </a:lvl1pPr>
          </a:lstStyle>
          <a:p>
            <a:pPr marL="0" marR="0" lvl="0" indent="0" algn="l"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 Challenge</a:t>
            </a:r>
          </a:p>
        </p:txBody>
      </p:sp>
      <p:sp>
        <p:nvSpPr>
          <p:cNvPr id="1928" name="Why we must address this"/>
          <p:cNvSpPr/>
          <p:nvPr/>
        </p:nvSpPr>
        <p:spPr>
          <a:xfrm>
            <a:off x="19140124" y="5485294"/>
            <a:ext cx="2801444" cy="484535"/>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algn="l" defTabSz="2438337">
              <a:defRPr sz="1600" b="1">
                <a:solidFill>
                  <a:srgbClr val="A2191F"/>
                </a:solidFill>
              </a:defRPr>
            </a:lvl1pPr>
          </a:lstStyle>
          <a:p>
            <a:pPr marL="0" marR="0" lvl="0" indent="0" algn="l"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 Why we must address this</a:t>
            </a:r>
          </a:p>
        </p:txBody>
      </p:sp>
      <p:sp>
        <p:nvSpPr>
          <p:cNvPr id="1929" name="Visible or Measurable Evidence   we must impact with change"/>
          <p:cNvSpPr/>
          <p:nvPr/>
        </p:nvSpPr>
        <p:spPr>
          <a:xfrm>
            <a:off x="19140124" y="6760039"/>
            <a:ext cx="3382965" cy="767283"/>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p>
            <a:pPr marL="0" marR="0" lvl="0" indent="0" algn="l" defTabSz="2438337" rtl="0" eaLnBrk="1" fontAlgn="auto" latinLnBrk="0" hangingPunct="0">
              <a:lnSpc>
                <a:spcPct val="120000"/>
              </a:lnSpc>
              <a:spcBef>
                <a:spcPts val="0"/>
              </a:spcBef>
              <a:spcAft>
                <a:spcPts val="0"/>
              </a:spcAft>
              <a:buClrTx/>
              <a:buSzTx/>
              <a:buFontTx/>
              <a:buNone/>
              <a:tabLst/>
              <a:defRPr sz="1600" b="1">
                <a:solidFill>
                  <a:srgbClr val="A2191F"/>
                </a:solidFill>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 Visible or Measurable Evidence </a:t>
            </a:r>
            <a:b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b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 we must impact with change </a:t>
            </a:r>
          </a:p>
        </p:txBody>
      </p:sp>
      <p:sp>
        <p:nvSpPr>
          <p:cNvPr id="1930" name="People"/>
          <p:cNvSpPr/>
          <p:nvPr/>
        </p:nvSpPr>
        <p:spPr>
          <a:xfrm>
            <a:off x="19140123" y="8317532"/>
            <a:ext cx="872383" cy="484535"/>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algn="l" defTabSz="2438337">
              <a:defRPr sz="1600" b="1">
                <a:solidFill>
                  <a:srgbClr val="491D8B"/>
                </a:solidFill>
              </a:defRPr>
            </a:lvl1pPr>
          </a:lstStyle>
          <a:p>
            <a:pPr marL="0" marR="0" lvl="0" indent="0" algn="l"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491D8B"/>
                </a:solidFill>
                <a:effectLst/>
                <a:uLnTx/>
                <a:uFillTx/>
                <a:latin typeface="Helvetica Neue"/>
                <a:ea typeface="Helvetica Neue"/>
                <a:cs typeface="Helvetica Neue"/>
                <a:sym typeface="Helvetica Neue"/>
              </a:rPr>
              <a:t> People</a:t>
            </a:r>
          </a:p>
        </p:txBody>
      </p:sp>
      <p:sp>
        <p:nvSpPr>
          <p:cNvPr id="1931" name="Processes"/>
          <p:cNvSpPr/>
          <p:nvPr/>
        </p:nvSpPr>
        <p:spPr>
          <a:xfrm>
            <a:off x="20116269" y="8317532"/>
            <a:ext cx="1217367" cy="484535"/>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algn="l" defTabSz="2438337">
              <a:defRPr sz="1600" b="1">
                <a:solidFill>
                  <a:srgbClr val="491D8B"/>
                </a:solidFill>
              </a:defRPr>
            </a:lvl1pPr>
          </a:lstStyle>
          <a:p>
            <a:pPr marL="0" marR="0" lvl="0" indent="0" algn="l"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491D8B"/>
                </a:solidFill>
                <a:effectLst/>
                <a:uLnTx/>
                <a:uFillTx/>
                <a:latin typeface="Helvetica Neue"/>
                <a:ea typeface="Helvetica Neue"/>
                <a:cs typeface="Helvetica Neue"/>
                <a:sym typeface="Helvetica Neue"/>
              </a:rPr>
              <a:t> Processes</a:t>
            </a:r>
          </a:p>
        </p:txBody>
      </p:sp>
      <p:sp>
        <p:nvSpPr>
          <p:cNvPr id="1932" name="Capability"/>
          <p:cNvSpPr/>
          <p:nvPr/>
        </p:nvSpPr>
        <p:spPr>
          <a:xfrm>
            <a:off x="19140124" y="9550506"/>
            <a:ext cx="1217367" cy="484535"/>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33" name="Quantifiable or Qualifiable Evidence   of Progress toward the Goal"/>
          <p:cNvSpPr/>
          <p:nvPr/>
        </p:nvSpPr>
        <p:spPr>
          <a:xfrm>
            <a:off x="19124102" y="10783480"/>
            <a:ext cx="3694656" cy="763935"/>
          </a:xfrm>
          <a:prstGeom prst="rect">
            <a:avLst/>
          </a:prstGeom>
          <a:solidFill>
            <a:srgbClr val="6FDC8C"/>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p>
            <a:pPr marL="0" marR="0" lvl="0" indent="0" algn="l" defTabSz="2438337" rtl="0" eaLnBrk="1" fontAlgn="auto" latinLnBrk="0" hangingPunct="0">
              <a:lnSpc>
                <a:spcPct val="120000"/>
              </a:lnSpc>
              <a:spcBef>
                <a:spcPts val="0"/>
              </a:spcBef>
              <a:spcAft>
                <a:spcPts val="0"/>
              </a:spcAft>
              <a:buClrTx/>
              <a:buSzTx/>
              <a:buFontTx/>
              <a:buNone/>
              <a:tabLst/>
              <a:defRPr sz="1600" b="1">
                <a:solidFill>
                  <a:srgbClr val="0E6027"/>
                </a:solidFill>
              </a:defRPr>
            </a:pP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 Quantifiable or Qualifiable Evidence </a:t>
            </a:r>
            <a:b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b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 of Progress toward the Goal</a:t>
            </a:r>
          </a:p>
        </p:txBody>
      </p:sp>
      <p:sp>
        <p:nvSpPr>
          <p:cNvPr id="1934" name="You gain…"/>
          <p:cNvSpPr txBox="1"/>
          <p:nvPr/>
        </p:nvSpPr>
        <p:spPr>
          <a:xfrm>
            <a:off x="18913701" y="513532"/>
            <a:ext cx="4943177" cy="33655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l" defTabSz="457200" rtl="0" eaLnBrk="1" fontAlgn="auto" latinLnBrk="0" hangingPunct="0">
              <a:lnSpc>
                <a:spcPct val="100000"/>
              </a:lnSpc>
              <a:spcBef>
                <a:spcPts val="2100"/>
              </a:spcBef>
              <a:spcAft>
                <a:spcPts val="0"/>
              </a:spcAft>
              <a:buClrTx/>
              <a:buSzTx/>
              <a:buFontTx/>
              <a:buNone/>
              <a:tabLst/>
              <a:defRPr sz="3200" b="1">
                <a:solidFill>
                  <a:srgbClr val="000000"/>
                </a:solidFill>
                <a:latin typeface="IBM Plex Sans"/>
                <a:ea typeface="IBM Plex Sans"/>
                <a:cs typeface="IBM Plex Sans"/>
                <a:sym typeface="IBM Plex Sans"/>
              </a:defRPr>
            </a:pPr>
            <a:endParaRPr kumimoji="0" sz="3200" b="1" i="0" u="none" strike="noStrike" kern="0" cap="none" spc="0" normalizeH="0" baseline="0" noProof="0">
              <a:ln>
                <a:noFill/>
              </a:ln>
              <a:solidFill>
                <a:srgbClr val="000000"/>
              </a:solidFill>
              <a:effectLst/>
              <a:uLnTx/>
              <a:uFillTx/>
              <a:latin typeface="IBM Plex Sans"/>
              <a:sym typeface="IBM Plex Sans"/>
            </a:endParaRPr>
          </a:p>
          <a:p>
            <a:pPr marL="0" marR="0" lvl="0" indent="0" algn="l" defTabSz="825500" rtl="0" eaLnBrk="1" fontAlgn="auto" latinLnBrk="0" hangingPunct="0">
              <a:lnSpc>
                <a:spcPct val="100000"/>
              </a:lnSpc>
              <a:spcBef>
                <a:spcPts val="0"/>
              </a:spcBef>
              <a:spcAft>
                <a:spcPts val="0"/>
              </a:spcAft>
              <a:buClrTx/>
              <a:buSzTx/>
              <a:buFontTx/>
              <a:buNone/>
              <a:tabLst/>
              <a:defRPr b="1">
                <a:solidFill>
                  <a:srgbClr val="000000"/>
                </a:solidFill>
                <a:latin typeface="IBM Plex Sans"/>
                <a:ea typeface="IBM Plex Sans"/>
                <a:cs typeface="IBM Plex Sans"/>
                <a:sym typeface="IBM Plex Sans"/>
              </a:defRPr>
            </a:pPr>
            <a:r>
              <a:rPr kumimoji="0" sz="2400" b="1" i="0" u="none" strike="noStrike" kern="0" cap="none" spc="0" normalizeH="0" baseline="0" noProof="0">
                <a:ln>
                  <a:noFill/>
                </a:ln>
                <a:solidFill>
                  <a:srgbClr val="0F62FE"/>
                </a:solidFill>
                <a:effectLst/>
                <a:uLnTx/>
                <a:uFillTx/>
                <a:latin typeface="IBM Plex Sans"/>
                <a:sym typeface="IBM Plex Sans"/>
              </a:rPr>
              <a:t>Opportunity Statement</a:t>
            </a:r>
          </a:p>
          <a:p>
            <a:pPr marL="0" marR="0" lvl="0" indent="0" algn="l" defTabSz="8255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A more detailed exploration of the use case related to the opportunity that concretely describes the experience to create or improve and the people who will benefit from the outcome or be impacted by it.</a:t>
            </a:r>
          </a:p>
        </p:txBody>
      </p:sp>
      <p:grpSp>
        <p:nvGrpSpPr>
          <p:cNvPr id="1941" name="Group"/>
          <p:cNvGrpSpPr/>
          <p:nvPr/>
        </p:nvGrpSpPr>
        <p:grpSpPr>
          <a:xfrm>
            <a:off x="12804014" y="9239887"/>
            <a:ext cx="4888571" cy="3851120"/>
            <a:chOff x="0" y="0"/>
            <a:chExt cx="4888570" cy="3851118"/>
          </a:xfrm>
        </p:grpSpPr>
        <p:sp>
          <p:nvSpPr>
            <p:cNvPr id="1935" name="Rectangle"/>
            <p:cNvSpPr/>
            <p:nvPr/>
          </p:nvSpPr>
          <p:spPr>
            <a:xfrm>
              <a:off x="-1" y="0"/>
              <a:ext cx="4888572" cy="3851119"/>
            </a:xfrm>
            <a:prstGeom prst="rect">
              <a:avLst/>
            </a:prstGeom>
            <a:solidFill>
              <a:srgbClr val="FFFFFF"/>
            </a:solidFill>
            <a:ln w="25400" cap="flat">
              <a:solidFill>
                <a:srgbClr val="A7A7A7"/>
              </a:solidFill>
              <a:prstDash val="solid"/>
              <a:round/>
            </a:ln>
            <a:effectLst/>
          </p:spPr>
          <p:txBody>
            <a:bodyPr wrap="square" lIns="50800" tIns="50800" rIns="50800" bIns="50800" numCol="1" anchor="ctr">
              <a:noAutofit/>
            </a:bodyPr>
            <a:lstStyle/>
            <a:p>
              <a:pPr marL="0" marR="0" lvl="0" indent="0" algn="ctr" defTabSz="2438337" rtl="0" eaLnBrk="1" fontAlgn="auto" latinLnBrk="0" hangingPunct="0">
                <a:lnSpc>
                  <a:spcPct val="100000"/>
                </a:lnSpc>
                <a:spcBef>
                  <a:spcPts val="0"/>
                </a:spcBef>
                <a:spcAft>
                  <a:spcPts val="0"/>
                </a:spcAft>
                <a:buClrTx/>
                <a:buSzTx/>
                <a:buFontTx/>
                <a:buNone/>
                <a:tabLst/>
                <a:defRPr sz="2300"/>
              </a:pPr>
              <a:endParaRPr kumimoji="0" sz="23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36" name="You gain…"/>
            <p:cNvSpPr txBox="1"/>
            <p:nvPr/>
          </p:nvSpPr>
          <p:spPr>
            <a:xfrm rot="16200000">
              <a:off x="-768422" y="1703861"/>
              <a:ext cx="1952466" cy="26247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t">
              <a:noAutofit/>
            </a:bodyPr>
            <a:lstStyle>
              <a:lvl1pPr defTabSz="825500">
                <a:defRPr sz="1200" b="1">
                  <a:solidFill>
                    <a:srgbClr val="535353"/>
                  </a:solidFill>
                  <a:latin typeface="IBM Plex Sans"/>
                  <a:ea typeface="IBM Plex Sans"/>
                  <a:cs typeface="IBM Plex Sans"/>
                  <a:sym typeface="IBM Plex Sans"/>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535353"/>
                  </a:solidFill>
                  <a:effectLst/>
                  <a:uLnTx/>
                  <a:uFillTx/>
                  <a:latin typeface="IBM Plex Sans"/>
                  <a:sym typeface="IBM Plex Sans"/>
                </a:rPr>
                <a:t>Business Value</a:t>
              </a:r>
            </a:p>
          </p:txBody>
        </p:sp>
        <p:sp>
          <p:nvSpPr>
            <p:cNvPr id="1937" name="You gain…"/>
            <p:cNvSpPr txBox="1"/>
            <p:nvPr/>
          </p:nvSpPr>
          <p:spPr>
            <a:xfrm>
              <a:off x="1173623" y="3483150"/>
              <a:ext cx="2620010" cy="26247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t">
              <a:noAutofit/>
            </a:bodyPr>
            <a:lstStyle>
              <a:lvl1pPr defTabSz="825500">
                <a:defRPr sz="1200" b="1">
                  <a:solidFill>
                    <a:srgbClr val="535353"/>
                  </a:solidFill>
                  <a:latin typeface="IBM Plex Sans"/>
                  <a:ea typeface="IBM Plex Sans"/>
                  <a:cs typeface="IBM Plex Sans"/>
                  <a:sym typeface="IBM Plex Sans"/>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535353"/>
                  </a:solidFill>
                  <a:effectLst/>
                  <a:uLnTx/>
                  <a:uFillTx/>
                  <a:latin typeface="IBM Plex Sans"/>
                  <a:sym typeface="IBM Plex Sans"/>
                </a:rPr>
                <a:t>Speed to Deliver</a:t>
              </a:r>
            </a:p>
          </p:txBody>
        </p:sp>
        <p:sp>
          <p:nvSpPr>
            <p:cNvPr id="1938" name="Line"/>
            <p:cNvSpPr/>
            <p:nvPr/>
          </p:nvSpPr>
          <p:spPr>
            <a:xfrm>
              <a:off x="368672" y="3482054"/>
              <a:ext cx="4085617" cy="1"/>
            </a:xfrm>
            <a:prstGeom prst="line">
              <a:avLst/>
            </a:prstGeom>
            <a:noFill/>
            <a:ln w="25400" cap="flat">
              <a:solidFill>
                <a:srgbClr val="A7A7A7"/>
              </a:solidFill>
              <a:prstDash val="solid"/>
              <a:round/>
            </a:ln>
            <a:effectLst/>
          </p:spPr>
          <p:txBody>
            <a:bodyPr wrap="square" lIns="45718" tIns="45718" rIns="45718" bIns="45718" numCol="1" anchor="t">
              <a:noAutofit/>
            </a:bodyP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94" name="Connection Line"/>
            <p:cNvSpPr/>
            <p:nvPr/>
          </p:nvSpPr>
          <p:spPr>
            <a:xfrm>
              <a:off x="1016104" y="293007"/>
              <a:ext cx="3454889" cy="2716071"/>
            </a:xfrm>
            <a:custGeom>
              <a:avLst/>
              <a:gdLst/>
              <a:ahLst/>
              <a:cxnLst>
                <a:cxn ang="0">
                  <a:pos x="wd2" y="hd2"/>
                </a:cxn>
                <a:cxn ang="5400000">
                  <a:pos x="wd2" y="hd2"/>
                </a:cxn>
                <a:cxn ang="10800000">
                  <a:pos x="wd2" y="hd2"/>
                </a:cxn>
                <a:cxn ang="16200000">
                  <a:pos x="wd2" y="hd2"/>
                </a:cxn>
              </a:cxnLst>
              <a:rect l="0" t="0" r="r" b="b"/>
              <a:pathLst>
                <a:path w="21230" h="21498" extrusionOk="0">
                  <a:moveTo>
                    <a:pt x="15" y="0"/>
                  </a:moveTo>
                  <a:cubicBezTo>
                    <a:pt x="-370" y="14434"/>
                    <a:pt x="6702" y="21600"/>
                    <a:pt x="21230" y="21497"/>
                  </a:cubicBezTo>
                </a:path>
              </a:pathLst>
            </a:custGeom>
            <a:noFill/>
            <a:ln w="25400" cap="flat">
              <a:solidFill>
                <a:srgbClr val="A7A7A7"/>
              </a:solidFill>
              <a:prstDash val="sysDot"/>
              <a:miter lim="400000"/>
            </a:ln>
            <a:effectLst/>
          </p:spPr>
          <p:txBody>
            <a:bodyP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95" name="Connection Line"/>
            <p:cNvSpPr/>
            <p:nvPr/>
          </p:nvSpPr>
          <p:spPr>
            <a:xfrm>
              <a:off x="2539917" y="274416"/>
              <a:ext cx="1901001" cy="147716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77" y="13478"/>
                    <a:pt x="7377" y="20678"/>
                    <a:pt x="21600" y="21600"/>
                  </a:cubicBezTo>
                </a:path>
              </a:pathLst>
            </a:custGeom>
            <a:noFill/>
            <a:ln w="25400" cap="flat">
              <a:solidFill>
                <a:srgbClr val="A7A7A7"/>
              </a:solidFill>
              <a:prstDash val="sysDot"/>
              <a:miter lim="400000"/>
            </a:ln>
            <a:effectLst/>
          </p:spPr>
          <p:txBody>
            <a:bodyP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grpSp>
      <p:grpSp>
        <p:nvGrpSpPr>
          <p:cNvPr id="1947" name="Group"/>
          <p:cNvGrpSpPr/>
          <p:nvPr/>
        </p:nvGrpSpPr>
        <p:grpSpPr>
          <a:xfrm>
            <a:off x="13280671" y="9501175"/>
            <a:ext cx="689401" cy="903635"/>
            <a:chOff x="0" y="0"/>
            <a:chExt cx="689399" cy="903634"/>
          </a:xfrm>
        </p:grpSpPr>
        <p:sp>
          <p:nvSpPr>
            <p:cNvPr id="1942" name="Goal"/>
            <p:cNvSpPr/>
            <p:nvPr/>
          </p:nvSpPr>
          <p:spPr>
            <a:xfrm>
              <a:off x="5433" y="673100"/>
              <a:ext cx="683967" cy="230535"/>
            </a:xfrm>
            <a:prstGeom prst="rect">
              <a:avLst/>
            </a:prstGeom>
            <a:solidFill>
              <a:srgbClr val="6FDC8C"/>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0B6E2A"/>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B6E2A"/>
                  </a:solidFill>
                  <a:effectLst/>
                  <a:uLnTx/>
                  <a:uFillTx/>
                  <a:latin typeface="Helvetica Neue"/>
                  <a:ea typeface="Helvetica Neue"/>
                  <a:cs typeface="Helvetica Neue"/>
                  <a:sym typeface="Helvetica Neue"/>
                </a:rPr>
                <a:t>Goal</a:t>
              </a:r>
            </a:p>
          </p:txBody>
        </p:sp>
        <p:sp>
          <p:nvSpPr>
            <p:cNvPr id="1943" name="Capability"/>
            <p:cNvSpPr/>
            <p:nvPr/>
          </p:nvSpPr>
          <p:spPr>
            <a:xfrm>
              <a:off x="5433" y="453973"/>
              <a:ext cx="683967" cy="230535"/>
            </a:xfrm>
            <a:prstGeom prst="rect">
              <a:avLst/>
            </a:prstGeom>
            <a:solidFill>
              <a:srgbClr val="A6C8FF"/>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44" name="Challenge"/>
            <p:cNvSpPr/>
            <p:nvPr/>
          </p:nvSpPr>
          <p:spPr>
            <a:xfrm>
              <a:off x="5433" y="229758"/>
              <a:ext cx="683967" cy="230535"/>
            </a:xfrm>
            <a:prstGeom prst="rect">
              <a:avLst/>
            </a:prstGeom>
            <a:solidFill>
              <a:srgbClr val="FFB3B8"/>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45" name="Opportunity"/>
            <p:cNvSpPr/>
            <p:nvPr/>
          </p:nvSpPr>
          <p:spPr>
            <a:xfrm>
              <a:off x="5433" y="0"/>
              <a:ext cx="683967" cy="230535"/>
            </a:xfrm>
            <a:prstGeom prst="rect">
              <a:avLst/>
            </a:prstGeom>
            <a:solidFill>
              <a:srgbClr val="535353"/>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FFFFF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FFFFFF"/>
                  </a:solidFill>
                  <a:effectLst/>
                  <a:uLnTx/>
                  <a:uFillTx/>
                  <a:latin typeface="Helvetica Neue"/>
                  <a:ea typeface="Helvetica Neue"/>
                  <a:cs typeface="Helvetica Neue"/>
                  <a:sym typeface="Helvetica Neue"/>
                </a:rPr>
                <a:t>Opportunity</a:t>
              </a:r>
            </a:p>
          </p:txBody>
        </p:sp>
        <p:sp>
          <p:nvSpPr>
            <p:cNvPr id="1946" name="Rectangle"/>
            <p:cNvSpPr/>
            <p:nvPr/>
          </p:nvSpPr>
          <p:spPr>
            <a:xfrm>
              <a:off x="0" y="6350"/>
              <a:ext cx="682133" cy="890367"/>
            </a:xfrm>
            <a:prstGeom prst="rect">
              <a:avLst/>
            </a:prstGeom>
            <a:noFill/>
            <a:ln w="12700" cap="flat">
              <a:solidFill>
                <a:srgbClr val="535353"/>
              </a:solidFill>
              <a:prstDash val="solid"/>
              <a:round/>
            </a:ln>
            <a:effectLst/>
          </p:spPr>
          <p:txBody>
            <a:bodyPr wrap="square" lIns="50800" tIns="50800" rIns="50800" bIns="50800" numCol="1" anchor="ctr">
              <a:noAutofit/>
            </a:bodyPr>
            <a:lstStyle/>
            <a:p>
              <a:pPr marL="0" marR="0" lvl="0" indent="0" algn="ctr" defTabSz="2438337"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grpSp>
      <p:grpSp>
        <p:nvGrpSpPr>
          <p:cNvPr id="1953" name="Group"/>
          <p:cNvGrpSpPr/>
          <p:nvPr/>
        </p:nvGrpSpPr>
        <p:grpSpPr>
          <a:xfrm>
            <a:off x="13776566" y="11276381"/>
            <a:ext cx="689401" cy="903635"/>
            <a:chOff x="0" y="0"/>
            <a:chExt cx="689399" cy="903634"/>
          </a:xfrm>
        </p:grpSpPr>
        <p:sp>
          <p:nvSpPr>
            <p:cNvPr id="1948" name="Goal"/>
            <p:cNvSpPr/>
            <p:nvPr/>
          </p:nvSpPr>
          <p:spPr>
            <a:xfrm>
              <a:off x="5433" y="673100"/>
              <a:ext cx="683967" cy="230535"/>
            </a:xfrm>
            <a:prstGeom prst="rect">
              <a:avLst/>
            </a:prstGeom>
            <a:solidFill>
              <a:srgbClr val="6FDC8C"/>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0B6E2A"/>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B6E2A"/>
                  </a:solidFill>
                  <a:effectLst/>
                  <a:uLnTx/>
                  <a:uFillTx/>
                  <a:latin typeface="Helvetica Neue"/>
                  <a:ea typeface="Helvetica Neue"/>
                  <a:cs typeface="Helvetica Neue"/>
                  <a:sym typeface="Helvetica Neue"/>
                </a:rPr>
                <a:t>Goal</a:t>
              </a:r>
            </a:p>
          </p:txBody>
        </p:sp>
        <p:sp>
          <p:nvSpPr>
            <p:cNvPr id="1949" name="Capability"/>
            <p:cNvSpPr/>
            <p:nvPr/>
          </p:nvSpPr>
          <p:spPr>
            <a:xfrm>
              <a:off x="5433" y="453973"/>
              <a:ext cx="683967" cy="230535"/>
            </a:xfrm>
            <a:prstGeom prst="rect">
              <a:avLst/>
            </a:prstGeom>
            <a:solidFill>
              <a:srgbClr val="A6C8FF"/>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50" name="Challenge"/>
            <p:cNvSpPr/>
            <p:nvPr/>
          </p:nvSpPr>
          <p:spPr>
            <a:xfrm>
              <a:off x="5433" y="229758"/>
              <a:ext cx="683967" cy="230535"/>
            </a:xfrm>
            <a:prstGeom prst="rect">
              <a:avLst/>
            </a:prstGeom>
            <a:solidFill>
              <a:srgbClr val="FFB3B8"/>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51" name="Opportunity"/>
            <p:cNvSpPr/>
            <p:nvPr/>
          </p:nvSpPr>
          <p:spPr>
            <a:xfrm>
              <a:off x="5433" y="0"/>
              <a:ext cx="683967" cy="230535"/>
            </a:xfrm>
            <a:prstGeom prst="rect">
              <a:avLst/>
            </a:prstGeom>
            <a:solidFill>
              <a:srgbClr val="535353"/>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FFFFF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FFFFFF"/>
                  </a:solidFill>
                  <a:effectLst/>
                  <a:uLnTx/>
                  <a:uFillTx/>
                  <a:latin typeface="Helvetica Neue"/>
                  <a:ea typeface="Helvetica Neue"/>
                  <a:cs typeface="Helvetica Neue"/>
                  <a:sym typeface="Helvetica Neue"/>
                </a:rPr>
                <a:t>Opportunity</a:t>
              </a:r>
            </a:p>
          </p:txBody>
        </p:sp>
        <p:sp>
          <p:nvSpPr>
            <p:cNvPr id="1952" name="Rectangle"/>
            <p:cNvSpPr/>
            <p:nvPr/>
          </p:nvSpPr>
          <p:spPr>
            <a:xfrm>
              <a:off x="0" y="6350"/>
              <a:ext cx="682133" cy="890367"/>
            </a:xfrm>
            <a:prstGeom prst="rect">
              <a:avLst/>
            </a:prstGeom>
            <a:noFill/>
            <a:ln w="12700" cap="flat">
              <a:solidFill>
                <a:srgbClr val="535353"/>
              </a:solidFill>
              <a:prstDash val="solid"/>
              <a:round/>
            </a:ln>
            <a:effectLst/>
          </p:spPr>
          <p:txBody>
            <a:bodyPr wrap="square" lIns="50800" tIns="50800" rIns="50800" bIns="50800" numCol="1" anchor="ctr">
              <a:noAutofit/>
            </a:bodyPr>
            <a:lstStyle/>
            <a:p>
              <a:pPr marL="0" marR="0" lvl="0" indent="0" algn="ctr" defTabSz="2438337"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grpSp>
      <p:grpSp>
        <p:nvGrpSpPr>
          <p:cNvPr id="1959" name="Group"/>
          <p:cNvGrpSpPr/>
          <p:nvPr/>
        </p:nvGrpSpPr>
        <p:grpSpPr>
          <a:xfrm>
            <a:off x="15943738" y="9487007"/>
            <a:ext cx="689401" cy="903635"/>
            <a:chOff x="0" y="0"/>
            <a:chExt cx="689399" cy="903634"/>
          </a:xfrm>
        </p:grpSpPr>
        <p:sp>
          <p:nvSpPr>
            <p:cNvPr id="1954" name="Goal"/>
            <p:cNvSpPr/>
            <p:nvPr/>
          </p:nvSpPr>
          <p:spPr>
            <a:xfrm>
              <a:off x="5433" y="673100"/>
              <a:ext cx="683967" cy="230535"/>
            </a:xfrm>
            <a:prstGeom prst="rect">
              <a:avLst/>
            </a:prstGeom>
            <a:solidFill>
              <a:srgbClr val="6FDC8C"/>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0B6E2A"/>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B6E2A"/>
                  </a:solidFill>
                  <a:effectLst/>
                  <a:uLnTx/>
                  <a:uFillTx/>
                  <a:latin typeface="Helvetica Neue"/>
                  <a:ea typeface="Helvetica Neue"/>
                  <a:cs typeface="Helvetica Neue"/>
                  <a:sym typeface="Helvetica Neue"/>
                </a:rPr>
                <a:t>Goal</a:t>
              </a:r>
            </a:p>
          </p:txBody>
        </p:sp>
        <p:sp>
          <p:nvSpPr>
            <p:cNvPr id="1955" name="Capability"/>
            <p:cNvSpPr/>
            <p:nvPr/>
          </p:nvSpPr>
          <p:spPr>
            <a:xfrm>
              <a:off x="5433" y="453973"/>
              <a:ext cx="683967" cy="230535"/>
            </a:xfrm>
            <a:prstGeom prst="rect">
              <a:avLst/>
            </a:prstGeom>
            <a:solidFill>
              <a:srgbClr val="A6C8FF"/>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56" name="Challenge"/>
            <p:cNvSpPr/>
            <p:nvPr/>
          </p:nvSpPr>
          <p:spPr>
            <a:xfrm>
              <a:off x="5433" y="229758"/>
              <a:ext cx="683967" cy="230535"/>
            </a:xfrm>
            <a:prstGeom prst="rect">
              <a:avLst/>
            </a:prstGeom>
            <a:solidFill>
              <a:srgbClr val="FFB3B8"/>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57" name="Opportunity"/>
            <p:cNvSpPr/>
            <p:nvPr/>
          </p:nvSpPr>
          <p:spPr>
            <a:xfrm>
              <a:off x="5433" y="0"/>
              <a:ext cx="683967" cy="230535"/>
            </a:xfrm>
            <a:prstGeom prst="rect">
              <a:avLst/>
            </a:prstGeom>
            <a:solidFill>
              <a:srgbClr val="535353"/>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FFFFF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FFFFFF"/>
                  </a:solidFill>
                  <a:effectLst/>
                  <a:uLnTx/>
                  <a:uFillTx/>
                  <a:latin typeface="Helvetica Neue"/>
                  <a:ea typeface="Helvetica Neue"/>
                  <a:cs typeface="Helvetica Neue"/>
                  <a:sym typeface="Helvetica Neue"/>
                </a:rPr>
                <a:t>Opportunity</a:t>
              </a:r>
            </a:p>
          </p:txBody>
        </p:sp>
        <p:sp>
          <p:nvSpPr>
            <p:cNvPr id="1958" name="Rectangle"/>
            <p:cNvSpPr/>
            <p:nvPr/>
          </p:nvSpPr>
          <p:spPr>
            <a:xfrm>
              <a:off x="0" y="6350"/>
              <a:ext cx="682133" cy="890367"/>
            </a:xfrm>
            <a:prstGeom prst="rect">
              <a:avLst/>
            </a:prstGeom>
            <a:noFill/>
            <a:ln w="12700" cap="flat">
              <a:solidFill>
                <a:srgbClr val="535353"/>
              </a:solidFill>
              <a:prstDash val="solid"/>
              <a:round/>
            </a:ln>
            <a:effectLst/>
          </p:spPr>
          <p:txBody>
            <a:bodyPr wrap="square" lIns="50800" tIns="50800" rIns="50800" bIns="50800" numCol="1" anchor="ctr">
              <a:noAutofit/>
            </a:bodyPr>
            <a:lstStyle/>
            <a:p>
              <a:pPr marL="0" marR="0" lvl="0" indent="0" algn="ctr" defTabSz="2438337"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grpSp>
      <p:grpSp>
        <p:nvGrpSpPr>
          <p:cNvPr id="1965" name="Group"/>
          <p:cNvGrpSpPr/>
          <p:nvPr/>
        </p:nvGrpSpPr>
        <p:grpSpPr>
          <a:xfrm>
            <a:off x="16560182" y="11746448"/>
            <a:ext cx="689401" cy="903635"/>
            <a:chOff x="0" y="0"/>
            <a:chExt cx="689399" cy="903634"/>
          </a:xfrm>
        </p:grpSpPr>
        <p:sp>
          <p:nvSpPr>
            <p:cNvPr id="1960" name="Goal"/>
            <p:cNvSpPr/>
            <p:nvPr/>
          </p:nvSpPr>
          <p:spPr>
            <a:xfrm>
              <a:off x="5433" y="673100"/>
              <a:ext cx="683967" cy="230535"/>
            </a:xfrm>
            <a:prstGeom prst="rect">
              <a:avLst/>
            </a:prstGeom>
            <a:solidFill>
              <a:srgbClr val="6FDC8C"/>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0B6E2A"/>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B6E2A"/>
                  </a:solidFill>
                  <a:effectLst/>
                  <a:uLnTx/>
                  <a:uFillTx/>
                  <a:latin typeface="Helvetica Neue"/>
                  <a:ea typeface="Helvetica Neue"/>
                  <a:cs typeface="Helvetica Neue"/>
                  <a:sym typeface="Helvetica Neue"/>
                </a:rPr>
                <a:t>Goal</a:t>
              </a:r>
            </a:p>
          </p:txBody>
        </p:sp>
        <p:sp>
          <p:nvSpPr>
            <p:cNvPr id="1961" name="Capability"/>
            <p:cNvSpPr/>
            <p:nvPr/>
          </p:nvSpPr>
          <p:spPr>
            <a:xfrm>
              <a:off x="5433" y="453973"/>
              <a:ext cx="683967" cy="230535"/>
            </a:xfrm>
            <a:prstGeom prst="rect">
              <a:avLst/>
            </a:prstGeom>
            <a:solidFill>
              <a:srgbClr val="A6C8FF"/>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62" name="Challenge"/>
            <p:cNvSpPr/>
            <p:nvPr/>
          </p:nvSpPr>
          <p:spPr>
            <a:xfrm>
              <a:off x="5433" y="229758"/>
              <a:ext cx="683967" cy="230535"/>
            </a:xfrm>
            <a:prstGeom prst="rect">
              <a:avLst/>
            </a:prstGeom>
            <a:solidFill>
              <a:srgbClr val="FFB3B8"/>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63" name="Opportunity"/>
            <p:cNvSpPr/>
            <p:nvPr/>
          </p:nvSpPr>
          <p:spPr>
            <a:xfrm>
              <a:off x="5433" y="0"/>
              <a:ext cx="683967" cy="230535"/>
            </a:xfrm>
            <a:prstGeom prst="rect">
              <a:avLst/>
            </a:prstGeom>
            <a:solidFill>
              <a:srgbClr val="535353"/>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2438337">
                <a:defRPr sz="700" b="1">
                  <a:solidFill>
                    <a:srgbClr val="FFFFF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FFFFFF"/>
                  </a:solidFill>
                  <a:effectLst/>
                  <a:uLnTx/>
                  <a:uFillTx/>
                  <a:latin typeface="Helvetica Neue"/>
                  <a:ea typeface="Helvetica Neue"/>
                  <a:cs typeface="Helvetica Neue"/>
                  <a:sym typeface="Helvetica Neue"/>
                </a:rPr>
                <a:t>Opportunity</a:t>
              </a:r>
            </a:p>
          </p:txBody>
        </p:sp>
        <p:sp>
          <p:nvSpPr>
            <p:cNvPr id="1964" name="Rectangle"/>
            <p:cNvSpPr/>
            <p:nvPr/>
          </p:nvSpPr>
          <p:spPr>
            <a:xfrm>
              <a:off x="0" y="6350"/>
              <a:ext cx="682133" cy="890367"/>
            </a:xfrm>
            <a:prstGeom prst="rect">
              <a:avLst/>
            </a:prstGeom>
            <a:noFill/>
            <a:ln w="12700" cap="flat">
              <a:solidFill>
                <a:srgbClr val="535353"/>
              </a:solidFill>
              <a:prstDash val="solid"/>
              <a:round/>
            </a:ln>
            <a:effectLst/>
          </p:spPr>
          <p:txBody>
            <a:bodyPr wrap="square" lIns="50800" tIns="50800" rIns="50800" bIns="50800" numCol="1" anchor="ctr">
              <a:noAutofit/>
            </a:bodyPr>
            <a:lstStyle/>
            <a:p>
              <a:pPr marL="0" marR="0" lvl="0" indent="0" algn="ctr" defTabSz="2438337"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grpSp>
      <p:sp>
        <p:nvSpPr>
          <p:cNvPr id="1966" name="Line"/>
          <p:cNvSpPr/>
          <p:nvPr/>
        </p:nvSpPr>
        <p:spPr>
          <a:xfrm flipV="1">
            <a:off x="13178216" y="9487007"/>
            <a:ext cx="1" cy="3231384"/>
          </a:xfrm>
          <a:prstGeom prst="line">
            <a:avLst/>
          </a:prstGeom>
          <a:ln w="25400">
            <a:solidFill>
              <a:srgbClr val="A7A7A7"/>
            </a:solidFill>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67" name="Goal"/>
          <p:cNvSpPr/>
          <p:nvPr/>
        </p:nvSpPr>
        <p:spPr>
          <a:xfrm>
            <a:off x="616775" y="11173593"/>
            <a:ext cx="1433267" cy="484535"/>
          </a:xfrm>
          <a:prstGeom prst="rect">
            <a:avLst/>
          </a:prstGeom>
          <a:solidFill>
            <a:srgbClr val="6FDC8C"/>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0E6027"/>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Goal</a:t>
            </a:r>
          </a:p>
        </p:txBody>
      </p:sp>
      <p:sp>
        <p:nvSpPr>
          <p:cNvPr id="1968" name="Capability"/>
          <p:cNvSpPr/>
          <p:nvPr/>
        </p:nvSpPr>
        <p:spPr>
          <a:xfrm>
            <a:off x="5295141" y="11169529"/>
            <a:ext cx="1433267" cy="484535"/>
          </a:xfrm>
          <a:prstGeom prst="rect">
            <a:avLst/>
          </a:prstGeom>
          <a:solidFill>
            <a:srgbClr val="A6C8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69" name="Challenge"/>
          <p:cNvSpPr/>
          <p:nvPr/>
        </p:nvSpPr>
        <p:spPr>
          <a:xfrm>
            <a:off x="2172350" y="11173593"/>
            <a:ext cx="1433268" cy="484535"/>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70" name="Man"/>
          <p:cNvSpPr/>
          <p:nvPr/>
        </p:nvSpPr>
        <p:spPr>
          <a:xfrm>
            <a:off x="7008002" y="10282373"/>
            <a:ext cx="297206" cy="767283"/>
          </a:xfrm>
          <a:custGeom>
            <a:avLst/>
            <a:gdLst/>
            <a:ahLst/>
            <a:cxnLst>
              <a:cxn ang="0">
                <a:pos x="wd2" y="hd2"/>
              </a:cxn>
              <a:cxn ang="5400000">
                <a:pos x="wd2" y="hd2"/>
              </a:cxn>
              <a:cxn ang="10800000">
                <a:pos x="wd2" y="hd2"/>
              </a:cxn>
              <a:cxn ang="16200000">
                <a:pos x="wd2" y="hd2"/>
              </a:cxn>
            </a:cxnLst>
            <a:rect l="0" t="0" r="r" b="b"/>
            <a:pathLst>
              <a:path w="21470" h="21502" extrusionOk="0">
                <a:moveTo>
                  <a:pt x="10246" y="10"/>
                </a:moveTo>
                <a:cubicBezTo>
                  <a:pt x="9651" y="39"/>
                  <a:pt x="9052" y="142"/>
                  <a:pt x="8490" y="331"/>
                </a:cubicBezTo>
                <a:cubicBezTo>
                  <a:pt x="7409" y="697"/>
                  <a:pt x="7827" y="1471"/>
                  <a:pt x="7827" y="1471"/>
                </a:cubicBezTo>
                <a:cubicBezTo>
                  <a:pt x="7827" y="1471"/>
                  <a:pt x="7467" y="1472"/>
                  <a:pt x="7689" y="1837"/>
                </a:cubicBezTo>
                <a:cubicBezTo>
                  <a:pt x="7827" y="2069"/>
                  <a:pt x="7730" y="2122"/>
                  <a:pt x="8174" y="2197"/>
                </a:cubicBezTo>
                <a:cubicBezTo>
                  <a:pt x="8285" y="2477"/>
                  <a:pt x="8629" y="2493"/>
                  <a:pt x="8629" y="2983"/>
                </a:cubicBezTo>
                <a:cubicBezTo>
                  <a:pt x="8629" y="2988"/>
                  <a:pt x="8355" y="2978"/>
                  <a:pt x="8161" y="3134"/>
                </a:cubicBezTo>
                <a:cubicBezTo>
                  <a:pt x="8106" y="3177"/>
                  <a:pt x="8049" y="3322"/>
                  <a:pt x="7827" y="3359"/>
                </a:cubicBezTo>
                <a:cubicBezTo>
                  <a:pt x="6842" y="3542"/>
                  <a:pt x="4636" y="3731"/>
                  <a:pt x="4095" y="3941"/>
                </a:cubicBezTo>
                <a:cubicBezTo>
                  <a:pt x="3332" y="4237"/>
                  <a:pt x="185" y="6557"/>
                  <a:pt x="185" y="6783"/>
                </a:cubicBezTo>
                <a:cubicBezTo>
                  <a:pt x="185" y="7133"/>
                  <a:pt x="112" y="7369"/>
                  <a:pt x="306" y="7546"/>
                </a:cubicBezTo>
                <a:cubicBezTo>
                  <a:pt x="1138" y="8300"/>
                  <a:pt x="2140" y="9548"/>
                  <a:pt x="3388" y="10139"/>
                </a:cubicBezTo>
                <a:cubicBezTo>
                  <a:pt x="3555" y="10220"/>
                  <a:pt x="3874" y="10313"/>
                  <a:pt x="4290" y="10366"/>
                </a:cubicBezTo>
                <a:cubicBezTo>
                  <a:pt x="4706" y="10420"/>
                  <a:pt x="5414" y="10539"/>
                  <a:pt x="5400" y="10636"/>
                </a:cubicBezTo>
                <a:cubicBezTo>
                  <a:pt x="5261" y="11507"/>
                  <a:pt x="4984" y="13595"/>
                  <a:pt x="4775" y="14591"/>
                </a:cubicBezTo>
                <a:cubicBezTo>
                  <a:pt x="4637" y="15242"/>
                  <a:pt x="4526" y="15984"/>
                  <a:pt x="4429" y="16447"/>
                </a:cubicBezTo>
                <a:cubicBezTo>
                  <a:pt x="4262" y="17244"/>
                  <a:pt x="4221" y="18180"/>
                  <a:pt x="3666" y="19165"/>
                </a:cubicBezTo>
                <a:cubicBezTo>
                  <a:pt x="3416" y="19617"/>
                  <a:pt x="2972" y="20214"/>
                  <a:pt x="3250" y="20214"/>
                </a:cubicBezTo>
                <a:cubicBezTo>
                  <a:pt x="2833" y="20612"/>
                  <a:pt x="1236" y="20827"/>
                  <a:pt x="432" y="20913"/>
                </a:cubicBezTo>
                <a:cubicBezTo>
                  <a:pt x="154" y="20940"/>
                  <a:pt x="-25" y="21043"/>
                  <a:pt x="3" y="21156"/>
                </a:cubicBezTo>
                <a:lnTo>
                  <a:pt x="29" y="21225"/>
                </a:lnTo>
                <a:cubicBezTo>
                  <a:pt x="43" y="21311"/>
                  <a:pt x="324" y="21344"/>
                  <a:pt x="393" y="21344"/>
                </a:cubicBezTo>
                <a:cubicBezTo>
                  <a:pt x="837" y="21376"/>
                  <a:pt x="2207" y="21461"/>
                  <a:pt x="3206" y="21305"/>
                </a:cubicBezTo>
                <a:cubicBezTo>
                  <a:pt x="4371" y="21128"/>
                  <a:pt x="5857" y="21247"/>
                  <a:pt x="7008" y="21188"/>
                </a:cubicBezTo>
                <a:cubicBezTo>
                  <a:pt x="7355" y="21171"/>
                  <a:pt x="7398" y="20692"/>
                  <a:pt x="7259" y="20471"/>
                </a:cubicBezTo>
                <a:cubicBezTo>
                  <a:pt x="7218" y="20407"/>
                  <a:pt x="7134" y="20375"/>
                  <a:pt x="7134" y="20375"/>
                </a:cubicBezTo>
                <a:lnTo>
                  <a:pt x="7190" y="20412"/>
                </a:lnTo>
                <a:cubicBezTo>
                  <a:pt x="7773" y="20434"/>
                  <a:pt x="8367" y="17905"/>
                  <a:pt x="8742" y="15860"/>
                </a:cubicBezTo>
                <a:cubicBezTo>
                  <a:pt x="8908" y="14999"/>
                  <a:pt x="10033" y="13116"/>
                  <a:pt x="10394" y="12497"/>
                </a:cubicBezTo>
                <a:cubicBezTo>
                  <a:pt x="10421" y="12443"/>
                  <a:pt x="10630" y="12443"/>
                  <a:pt x="10658" y="12497"/>
                </a:cubicBezTo>
                <a:cubicBezTo>
                  <a:pt x="10880" y="12987"/>
                  <a:pt x="11168" y="14031"/>
                  <a:pt x="11473" y="14757"/>
                </a:cubicBezTo>
                <a:cubicBezTo>
                  <a:pt x="11542" y="14924"/>
                  <a:pt x="11753" y="15564"/>
                  <a:pt x="11781" y="15968"/>
                </a:cubicBezTo>
                <a:cubicBezTo>
                  <a:pt x="11892" y="17206"/>
                  <a:pt x="11572" y="19842"/>
                  <a:pt x="12002" y="20175"/>
                </a:cubicBezTo>
                <a:cubicBezTo>
                  <a:pt x="12002" y="20175"/>
                  <a:pt x="11906" y="20682"/>
                  <a:pt x="11490" y="21053"/>
                </a:cubicBezTo>
                <a:cubicBezTo>
                  <a:pt x="10908" y="21575"/>
                  <a:pt x="13763" y="21580"/>
                  <a:pt x="14568" y="21381"/>
                </a:cubicBezTo>
                <a:cubicBezTo>
                  <a:pt x="15608" y="21128"/>
                  <a:pt x="14986" y="20682"/>
                  <a:pt x="15028" y="20488"/>
                </a:cubicBezTo>
                <a:cubicBezTo>
                  <a:pt x="15125" y="20316"/>
                  <a:pt x="15333" y="20316"/>
                  <a:pt x="15444" y="19950"/>
                </a:cubicBezTo>
                <a:cubicBezTo>
                  <a:pt x="15763" y="18841"/>
                  <a:pt x="15485" y="17442"/>
                  <a:pt x="15513" y="16318"/>
                </a:cubicBezTo>
                <a:cubicBezTo>
                  <a:pt x="15527" y="15946"/>
                  <a:pt x="15886" y="15230"/>
                  <a:pt x="15886" y="14229"/>
                </a:cubicBezTo>
                <a:cubicBezTo>
                  <a:pt x="15886" y="13223"/>
                  <a:pt x="15888" y="12330"/>
                  <a:pt x="15721" y="11431"/>
                </a:cubicBezTo>
                <a:cubicBezTo>
                  <a:pt x="15610" y="10839"/>
                  <a:pt x="16110" y="10802"/>
                  <a:pt x="15652" y="10044"/>
                </a:cubicBezTo>
                <a:cubicBezTo>
                  <a:pt x="17247" y="10108"/>
                  <a:pt x="17453" y="10054"/>
                  <a:pt x="17967" y="9801"/>
                </a:cubicBezTo>
                <a:cubicBezTo>
                  <a:pt x="19312" y="9123"/>
                  <a:pt x="20798" y="7585"/>
                  <a:pt x="21062" y="7321"/>
                </a:cubicBezTo>
                <a:cubicBezTo>
                  <a:pt x="21575" y="7278"/>
                  <a:pt x="21546" y="6846"/>
                  <a:pt x="21296" y="6534"/>
                </a:cubicBezTo>
                <a:cubicBezTo>
                  <a:pt x="21226" y="6453"/>
                  <a:pt x="20909" y="6465"/>
                  <a:pt x="20854" y="6384"/>
                </a:cubicBezTo>
                <a:cubicBezTo>
                  <a:pt x="20424" y="5755"/>
                  <a:pt x="17691" y="4302"/>
                  <a:pt x="17247" y="3990"/>
                </a:cubicBezTo>
                <a:cubicBezTo>
                  <a:pt x="16859" y="3715"/>
                  <a:pt x="14264" y="3516"/>
                  <a:pt x="13376" y="3381"/>
                </a:cubicBezTo>
                <a:cubicBezTo>
                  <a:pt x="13237" y="3360"/>
                  <a:pt x="13085" y="3300"/>
                  <a:pt x="13029" y="3247"/>
                </a:cubicBezTo>
                <a:cubicBezTo>
                  <a:pt x="13001" y="3225"/>
                  <a:pt x="12988" y="3204"/>
                  <a:pt x="12960" y="3183"/>
                </a:cubicBezTo>
                <a:cubicBezTo>
                  <a:pt x="12724" y="2984"/>
                  <a:pt x="12392" y="2989"/>
                  <a:pt x="12392" y="2989"/>
                </a:cubicBezTo>
                <a:cubicBezTo>
                  <a:pt x="12350" y="2839"/>
                  <a:pt x="12319" y="2714"/>
                  <a:pt x="12444" y="2628"/>
                </a:cubicBezTo>
                <a:cubicBezTo>
                  <a:pt x="12610" y="2504"/>
                  <a:pt x="12750" y="2364"/>
                  <a:pt x="12847" y="2219"/>
                </a:cubicBezTo>
                <a:cubicBezTo>
                  <a:pt x="13041" y="2203"/>
                  <a:pt x="13196" y="2213"/>
                  <a:pt x="13376" y="1933"/>
                </a:cubicBezTo>
                <a:cubicBezTo>
                  <a:pt x="13445" y="1810"/>
                  <a:pt x="13748" y="1482"/>
                  <a:pt x="13276" y="1471"/>
                </a:cubicBezTo>
                <a:cubicBezTo>
                  <a:pt x="13373" y="1245"/>
                  <a:pt x="13679" y="444"/>
                  <a:pt x="12500" y="272"/>
                </a:cubicBezTo>
                <a:cubicBezTo>
                  <a:pt x="12154" y="223"/>
                  <a:pt x="12141" y="153"/>
                  <a:pt x="11989" y="126"/>
                </a:cubicBezTo>
                <a:cubicBezTo>
                  <a:pt x="11434" y="23"/>
                  <a:pt x="10841" y="-20"/>
                  <a:pt x="10246" y="10"/>
                </a:cubicBezTo>
                <a:close/>
                <a:moveTo>
                  <a:pt x="16042" y="6038"/>
                </a:moveTo>
                <a:cubicBezTo>
                  <a:pt x="16175" y="6060"/>
                  <a:pt x="16316" y="6123"/>
                  <a:pt x="16371" y="6147"/>
                </a:cubicBezTo>
                <a:cubicBezTo>
                  <a:pt x="17342" y="6567"/>
                  <a:pt x="18104" y="6825"/>
                  <a:pt x="18201" y="6955"/>
                </a:cubicBezTo>
                <a:cubicBezTo>
                  <a:pt x="18270" y="7186"/>
                  <a:pt x="18326" y="7449"/>
                  <a:pt x="18326" y="7449"/>
                </a:cubicBezTo>
                <a:cubicBezTo>
                  <a:pt x="18326" y="7449"/>
                  <a:pt x="17454" y="9005"/>
                  <a:pt x="17052" y="9124"/>
                </a:cubicBezTo>
                <a:cubicBezTo>
                  <a:pt x="16802" y="9205"/>
                  <a:pt x="15790" y="8946"/>
                  <a:pt x="15236" y="8972"/>
                </a:cubicBezTo>
                <a:cubicBezTo>
                  <a:pt x="15236" y="8703"/>
                  <a:pt x="15249" y="8450"/>
                  <a:pt x="15305" y="7950"/>
                </a:cubicBezTo>
                <a:cubicBezTo>
                  <a:pt x="15374" y="7347"/>
                  <a:pt x="15692" y="6443"/>
                  <a:pt x="15747" y="6174"/>
                </a:cubicBezTo>
                <a:cubicBezTo>
                  <a:pt x="15782" y="6034"/>
                  <a:pt x="15908" y="6016"/>
                  <a:pt x="16042" y="6038"/>
                </a:cubicBezTo>
                <a:close/>
                <a:moveTo>
                  <a:pt x="5001" y="6053"/>
                </a:moveTo>
                <a:cubicBezTo>
                  <a:pt x="5137" y="6043"/>
                  <a:pt x="5286" y="6074"/>
                  <a:pt x="5317" y="6131"/>
                </a:cubicBezTo>
                <a:cubicBezTo>
                  <a:pt x="5456" y="6389"/>
                  <a:pt x="5454" y="6740"/>
                  <a:pt x="5551" y="7133"/>
                </a:cubicBezTo>
                <a:cubicBezTo>
                  <a:pt x="5704" y="7752"/>
                  <a:pt x="5968" y="8369"/>
                  <a:pt x="5898" y="8735"/>
                </a:cubicBezTo>
                <a:cubicBezTo>
                  <a:pt x="5870" y="8918"/>
                  <a:pt x="5912" y="9091"/>
                  <a:pt x="5898" y="9107"/>
                </a:cubicBezTo>
                <a:cubicBezTo>
                  <a:pt x="5898" y="9107"/>
                  <a:pt x="5413" y="9295"/>
                  <a:pt x="5205" y="9322"/>
                </a:cubicBezTo>
                <a:cubicBezTo>
                  <a:pt x="4899" y="9355"/>
                  <a:pt x="4593" y="9462"/>
                  <a:pt x="4537" y="9430"/>
                </a:cubicBezTo>
                <a:cubicBezTo>
                  <a:pt x="4149" y="9150"/>
                  <a:pt x="3152" y="7622"/>
                  <a:pt x="3042" y="7385"/>
                </a:cubicBezTo>
                <a:cubicBezTo>
                  <a:pt x="3097" y="7251"/>
                  <a:pt x="3139" y="7062"/>
                  <a:pt x="3167" y="6965"/>
                </a:cubicBezTo>
                <a:cubicBezTo>
                  <a:pt x="3181" y="6922"/>
                  <a:pt x="3206" y="6884"/>
                  <a:pt x="3276" y="6852"/>
                </a:cubicBezTo>
                <a:cubicBezTo>
                  <a:pt x="3539" y="6701"/>
                  <a:pt x="4330" y="6260"/>
                  <a:pt x="4871" y="6077"/>
                </a:cubicBezTo>
                <a:cubicBezTo>
                  <a:pt x="4909" y="6063"/>
                  <a:pt x="4955" y="6057"/>
                  <a:pt x="5001" y="6053"/>
                </a:cubicBezTo>
                <a:close/>
              </a:path>
            </a:pathLst>
          </a:custGeom>
          <a:solidFill>
            <a:srgbClr val="432086"/>
          </a:solidFill>
          <a:ln w="12700">
            <a:miter lim="400000"/>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71" name="Star"/>
          <p:cNvSpPr/>
          <p:nvPr/>
        </p:nvSpPr>
        <p:spPr>
          <a:xfrm>
            <a:off x="642709" y="10721253"/>
            <a:ext cx="365703" cy="347804"/>
          </a:xfrm>
          <a:prstGeom prst="star5">
            <a:avLst>
              <a:gd name="adj" fmla="val 19100"/>
              <a:gd name="hf" fmla="val 105146"/>
              <a:gd name="vf" fmla="val 110557"/>
            </a:avLst>
          </a:prstGeom>
          <a:solidFill>
            <a:srgbClr val="3C7F40"/>
          </a:solidFill>
          <a:ln w="25400">
            <a:solidFill>
              <a:srgbClr val="198038"/>
            </a:solidFill>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72" name="Star"/>
          <p:cNvSpPr/>
          <p:nvPr/>
        </p:nvSpPr>
        <p:spPr>
          <a:xfrm>
            <a:off x="1158783" y="10721253"/>
            <a:ext cx="365703" cy="347804"/>
          </a:xfrm>
          <a:prstGeom prst="star5">
            <a:avLst>
              <a:gd name="adj" fmla="val 19100"/>
              <a:gd name="hf" fmla="val 105146"/>
              <a:gd name="vf" fmla="val 110557"/>
            </a:avLst>
          </a:prstGeom>
          <a:solidFill>
            <a:srgbClr val="3C7F40"/>
          </a:solidFill>
          <a:ln w="25400">
            <a:solidFill>
              <a:srgbClr val="198038"/>
            </a:solidFill>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73" name="Star"/>
          <p:cNvSpPr/>
          <p:nvPr/>
        </p:nvSpPr>
        <p:spPr>
          <a:xfrm>
            <a:off x="1674856" y="10721253"/>
            <a:ext cx="365704" cy="347804"/>
          </a:xfrm>
          <a:prstGeom prst="star5">
            <a:avLst>
              <a:gd name="adj" fmla="val 19100"/>
              <a:gd name="hf" fmla="val 105146"/>
              <a:gd name="vf" fmla="val 110557"/>
            </a:avLst>
          </a:prstGeom>
          <a:solidFill>
            <a:srgbClr val="3C7F40"/>
          </a:solidFill>
          <a:ln w="25400">
            <a:solidFill>
              <a:srgbClr val="198038"/>
            </a:solidFill>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74" name="You gain…"/>
          <p:cNvSpPr txBox="1"/>
          <p:nvPr/>
        </p:nvSpPr>
        <p:spPr>
          <a:xfrm>
            <a:off x="616775" y="11701801"/>
            <a:ext cx="1433267" cy="4572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825500">
              <a:defRPr sz="1400">
                <a:solidFill>
                  <a:srgbClr val="000000"/>
                </a:solidFill>
                <a:latin typeface="IBM Plex Sans Light"/>
                <a:ea typeface="IBM Plex Sans Light"/>
                <a:cs typeface="IBM Plex Sans Light"/>
                <a:sym typeface="IBM Plex Sans Light"/>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0000"/>
                </a:solidFill>
                <a:effectLst/>
                <a:uLnTx/>
                <a:uFillTx/>
                <a:latin typeface="IBM Plex Sans Light"/>
                <a:sym typeface="IBM Plex Sans Light"/>
              </a:rPr>
              <a:t>You have goals for your business.</a:t>
            </a:r>
          </a:p>
        </p:txBody>
      </p:sp>
      <p:sp>
        <p:nvSpPr>
          <p:cNvPr id="1975" name="You gain…"/>
          <p:cNvSpPr txBox="1"/>
          <p:nvPr/>
        </p:nvSpPr>
        <p:spPr>
          <a:xfrm>
            <a:off x="2172350" y="11701801"/>
            <a:ext cx="1433268" cy="4572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825500">
              <a:defRPr sz="1400">
                <a:solidFill>
                  <a:srgbClr val="000000"/>
                </a:solidFill>
                <a:latin typeface="IBM Plex Sans Light"/>
                <a:ea typeface="IBM Plex Sans Light"/>
                <a:cs typeface="IBM Plex Sans Light"/>
                <a:sym typeface="IBM Plex Sans Light"/>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0000"/>
                </a:solidFill>
                <a:effectLst/>
                <a:uLnTx/>
                <a:uFillTx/>
                <a:latin typeface="IBM Plex Sans Light"/>
                <a:sym typeface="IBM Plex Sans Light"/>
              </a:rPr>
              <a:t>Challenges stand in the way.</a:t>
            </a:r>
          </a:p>
        </p:txBody>
      </p:sp>
      <p:sp>
        <p:nvSpPr>
          <p:cNvPr id="1976" name="You gain…"/>
          <p:cNvSpPr txBox="1"/>
          <p:nvPr/>
        </p:nvSpPr>
        <p:spPr>
          <a:xfrm>
            <a:off x="5312157" y="11701801"/>
            <a:ext cx="1433267" cy="9144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825500">
              <a:defRPr sz="1400">
                <a:solidFill>
                  <a:srgbClr val="000000"/>
                </a:solidFill>
                <a:latin typeface="IBM Plex Sans Light"/>
                <a:ea typeface="IBM Plex Sans Light"/>
                <a:cs typeface="IBM Plex Sans Light"/>
                <a:sym typeface="IBM Plex Sans Light"/>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0000"/>
                </a:solidFill>
                <a:effectLst/>
                <a:uLnTx/>
                <a:uFillTx/>
                <a:latin typeface="IBM Plex Sans Light"/>
                <a:sym typeface="IBM Plex Sans Light"/>
              </a:rPr>
              <a:t>Together we explore ideas for how to address your challenges.</a:t>
            </a:r>
          </a:p>
        </p:txBody>
      </p:sp>
      <p:sp>
        <p:nvSpPr>
          <p:cNvPr id="1977" name="Roles, Processes and Systems"/>
          <p:cNvSpPr/>
          <p:nvPr/>
        </p:nvSpPr>
        <p:spPr>
          <a:xfrm>
            <a:off x="6853174" y="11169529"/>
            <a:ext cx="3157200" cy="484535"/>
          </a:xfrm>
          <a:prstGeom prst="rect">
            <a:avLst/>
          </a:prstGeom>
          <a:solidFill>
            <a:srgbClr val="D4BB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491D8B"/>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491D8B"/>
                </a:solidFill>
                <a:effectLst/>
                <a:uLnTx/>
                <a:uFillTx/>
                <a:latin typeface="Helvetica Neue"/>
                <a:ea typeface="Helvetica Neue"/>
                <a:cs typeface="Helvetica Neue"/>
                <a:sym typeface="Helvetica Neue"/>
              </a:rPr>
              <a:t>Roles, Processes and Systems</a:t>
            </a:r>
          </a:p>
        </p:txBody>
      </p:sp>
      <p:sp>
        <p:nvSpPr>
          <p:cNvPr id="1978" name="You gain…"/>
          <p:cNvSpPr txBox="1"/>
          <p:nvPr/>
        </p:nvSpPr>
        <p:spPr>
          <a:xfrm>
            <a:off x="6887357" y="11701801"/>
            <a:ext cx="315720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825500">
              <a:defRPr sz="1400">
                <a:solidFill>
                  <a:srgbClr val="000000"/>
                </a:solidFill>
                <a:latin typeface="IBM Plex Sans Light"/>
                <a:ea typeface="IBM Plex Sans Light"/>
                <a:cs typeface="IBM Plex Sans Light"/>
                <a:sym typeface="IBM Plex Sans Light"/>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0000"/>
                </a:solidFill>
                <a:effectLst/>
                <a:uLnTx/>
                <a:uFillTx/>
                <a:latin typeface="IBM Plex Sans Light"/>
                <a:sym typeface="IBM Plex Sans Light"/>
              </a:rPr>
              <a:t>We highlight the roles, processes and systems that will be impacted by the change you envision.</a:t>
            </a:r>
          </a:p>
        </p:txBody>
      </p:sp>
      <p:sp>
        <p:nvSpPr>
          <p:cNvPr id="1979" name="Evidence"/>
          <p:cNvSpPr/>
          <p:nvPr/>
        </p:nvSpPr>
        <p:spPr>
          <a:xfrm>
            <a:off x="3734768" y="11169529"/>
            <a:ext cx="1433267" cy="484535"/>
          </a:xfrm>
          <a:prstGeom prst="rect">
            <a:avLst/>
          </a:prstGeom>
          <a:solidFill>
            <a:srgbClr val="FFB3B8"/>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Evidence</a:t>
            </a:r>
          </a:p>
        </p:txBody>
      </p:sp>
      <p:sp>
        <p:nvSpPr>
          <p:cNvPr id="1980" name="You gain…"/>
          <p:cNvSpPr txBox="1"/>
          <p:nvPr/>
        </p:nvSpPr>
        <p:spPr>
          <a:xfrm>
            <a:off x="3734768" y="11697736"/>
            <a:ext cx="1433267" cy="9144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825500">
              <a:defRPr sz="1400">
                <a:solidFill>
                  <a:srgbClr val="000000"/>
                </a:solidFill>
                <a:latin typeface="IBM Plex Sans Light"/>
                <a:ea typeface="IBM Plex Sans Light"/>
                <a:cs typeface="IBM Plex Sans Light"/>
                <a:sym typeface="IBM Plex Sans Light"/>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0000"/>
                </a:solidFill>
                <a:effectLst/>
                <a:uLnTx/>
                <a:uFillTx/>
                <a:latin typeface="IBM Plex Sans Light"/>
                <a:sym typeface="IBM Plex Sans Light"/>
              </a:rPr>
              <a:t>You have evidence that the challenge needs to be addressed.</a:t>
            </a:r>
          </a:p>
        </p:txBody>
      </p:sp>
      <p:sp>
        <p:nvSpPr>
          <p:cNvPr id="1981" name="Proof"/>
          <p:cNvSpPr/>
          <p:nvPr/>
        </p:nvSpPr>
        <p:spPr>
          <a:xfrm>
            <a:off x="10138546" y="11173593"/>
            <a:ext cx="1433267" cy="484535"/>
          </a:xfrm>
          <a:prstGeom prst="rect">
            <a:avLst/>
          </a:prstGeom>
          <a:solidFill>
            <a:srgbClr val="6FDC8C"/>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600" b="1">
                <a:solidFill>
                  <a:srgbClr val="0E6027"/>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Proof</a:t>
            </a:r>
          </a:p>
        </p:txBody>
      </p:sp>
      <p:sp>
        <p:nvSpPr>
          <p:cNvPr id="1982" name="You gain…"/>
          <p:cNvSpPr txBox="1"/>
          <p:nvPr/>
        </p:nvSpPr>
        <p:spPr>
          <a:xfrm>
            <a:off x="10138546" y="11701801"/>
            <a:ext cx="1433267"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825500">
              <a:defRPr sz="1400">
                <a:solidFill>
                  <a:srgbClr val="000000"/>
                </a:solidFill>
                <a:latin typeface="IBM Plex Sans Light"/>
                <a:ea typeface="IBM Plex Sans Light"/>
                <a:cs typeface="IBM Plex Sans Light"/>
                <a:sym typeface="IBM Plex Sans Light"/>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0000"/>
                </a:solidFill>
                <a:effectLst/>
                <a:uLnTx/>
                <a:uFillTx/>
                <a:latin typeface="IBM Plex Sans Light"/>
                <a:sym typeface="IBM Plex Sans Light"/>
              </a:rPr>
              <a:t>We describe the impact to be measured.</a:t>
            </a:r>
          </a:p>
        </p:txBody>
      </p:sp>
      <p:sp>
        <p:nvSpPr>
          <p:cNvPr id="1983" name="Woman"/>
          <p:cNvSpPr/>
          <p:nvPr/>
        </p:nvSpPr>
        <p:spPr>
          <a:xfrm>
            <a:off x="7362680" y="10282373"/>
            <a:ext cx="306497" cy="767283"/>
          </a:xfrm>
          <a:custGeom>
            <a:avLst/>
            <a:gdLst/>
            <a:ahLst/>
            <a:cxnLst>
              <a:cxn ang="0">
                <a:pos x="wd2" y="hd2"/>
              </a:cxn>
              <a:cxn ang="5400000">
                <a:pos x="wd2" y="hd2"/>
              </a:cxn>
              <a:cxn ang="10800000">
                <a:pos x="wd2" y="hd2"/>
              </a:cxn>
              <a:cxn ang="16200000">
                <a:pos x="wd2" y="hd2"/>
              </a:cxn>
            </a:cxnLst>
            <a:rect l="0" t="0" r="r" b="b"/>
            <a:pathLst>
              <a:path w="21387" h="21451" extrusionOk="0">
                <a:moveTo>
                  <a:pt x="10767" y="3"/>
                </a:moveTo>
                <a:cubicBezTo>
                  <a:pt x="10163" y="-15"/>
                  <a:pt x="9173" y="50"/>
                  <a:pt x="8379" y="485"/>
                </a:cubicBezTo>
                <a:cubicBezTo>
                  <a:pt x="7869" y="770"/>
                  <a:pt x="7992" y="989"/>
                  <a:pt x="7147" y="1709"/>
                </a:cubicBezTo>
                <a:cubicBezTo>
                  <a:pt x="6047" y="2649"/>
                  <a:pt x="7909" y="2821"/>
                  <a:pt x="6636" y="3320"/>
                </a:cubicBezTo>
                <a:cubicBezTo>
                  <a:pt x="6113" y="3525"/>
                  <a:pt x="6502" y="3869"/>
                  <a:pt x="6502" y="3869"/>
                </a:cubicBezTo>
                <a:cubicBezTo>
                  <a:pt x="6394" y="3885"/>
                  <a:pt x="6207" y="3880"/>
                  <a:pt x="6099" y="3896"/>
                </a:cubicBezTo>
                <a:cubicBezTo>
                  <a:pt x="5550" y="3950"/>
                  <a:pt x="4864" y="4024"/>
                  <a:pt x="4314" y="4395"/>
                </a:cubicBezTo>
                <a:cubicBezTo>
                  <a:pt x="3537" y="4916"/>
                  <a:pt x="1662" y="6006"/>
                  <a:pt x="254" y="6893"/>
                </a:cubicBezTo>
                <a:cubicBezTo>
                  <a:pt x="241" y="6904"/>
                  <a:pt x="226" y="6914"/>
                  <a:pt x="212" y="6920"/>
                </a:cubicBezTo>
                <a:cubicBezTo>
                  <a:pt x="186" y="6941"/>
                  <a:pt x="160" y="6962"/>
                  <a:pt x="133" y="6978"/>
                </a:cubicBezTo>
                <a:cubicBezTo>
                  <a:pt x="-28" y="7113"/>
                  <a:pt x="-54" y="7253"/>
                  <a:pt x="120" y="7398"/>
                </a:cubicBezTo>
                <a:cubicBezTo>
                  <a:pt x="402" y="7629"/>
                  <a:pt x="494" y="7843"/>
                  <a:pt x="883" y="8241"/>
                </a:cubicBezTo>
                <a:cubicBezTo>
                  <a:pt x="1258" y="8633"/>
                  <a:pt x="2132" y="9064"/>
                  <a:pt x="2789" y="9483"/>
                </a:cubicBezTo>
                <a:cubicBezTo>
                  <a:pt x="2950" y="9591"/>
                  <a:pt x="2935" y="9681"/>
                  <a:pt x="3351" y="9923"/>
                </a:cubicBezTo>
                <a:cubicBezTo>
                  <a:pt x="3579" y="10057"/>
                  <a:pt x="3967" y="10040"/>
                  <a:pt x="3820" y="10040"/>
                </a:cubicBezTo>
                <a:cubicBezTo>
                  <a:pt x="4182" y="10051"/>
                  <a:pt x="4546" y="10004"/>
                  <a:pt x="4532" y="10025"/>
                </a:cubicBezTo>
                <a:cubicBezTo>
                  <a:pt x="4331" y="10627"/>
                  <a:pt x="4437" y="11347"/>
                  <a:pt x="4692" y="12094"/>
                </a:cubicBezTo>
                <a:cubicBezTo>
                  <a:pt x="4839" y="12561"/>
                  <a:pt x="6473" y="15069"/>
                  <a:pt x="6527" y="15493"/>
                </a:cubicBezTo>
                <a:cubicBezTo>
                  <a:pt x="6688" y="17357"/>
                  <a:pt x="7279" y="18781"/>
                  <a:pt x="7641" y="19603"/>
                </a:cubicBezTo>
                <a:cubicBezTo>
                  <a:pt x="7668" y="19651"/>
                  <a:pt x="7723" y="19673"/>
                  <a:pt x="7763" y="19673"/>
                </a:cubicBezTo>
                <a:cubicBezTo>
                  <a:pt x="7790" y="19673"/>
                  <a:pt x="7857" y="19684"/>
                  <a:pt x="7951" y="19700"/>
                </a:cubicBezTo>
                <a:cubicBezTo>
                  <a:pt x="7965" y="20098"/>
                  <a:pt x="8258" y="20001"/>
                  <a:pt x="7775" y="20313"/>
                </a:cubicBezTo>
                <a:cubicBezTo>
                  <a:pt x="7494" y="20495"/>
                  <a:pt x="6838" y="20688"/>
                  <a:pt x="6891" y="21026"/>
                </a:cubicBezTo>
                <a:cubicBezTo>
                  <a:pt x="6905" y="21150"/>
                  <a:pt x="6973" y="21215"/>
                  <a:pt x="7214" y="21307"/>
                </a:cubicBezTo>
                <a:cubicBezTo>
                  <a:pt x="7536" y="21419"/>
                  <a:pt x="8649" y="21585"/>
                  <a:pt x="9694" y="21268"/>
                </a:cubicBezTo>
                <a:cubicBezTo>
                  <a:pt x="10231" y="21107"/>
                  <a:pt x="9893" y="20801"/>
                  <a:pt x="10000" y="20672"/>
                </a:cubicBezTo>
                <a:cubicBezTo>
                  <a:pt x="10148" y="20511"/>
                  <a:pt x="10348" y="20420"/>
                  <a:pt x="10214" y="20027"/>
                </a:cubicBezTo>
                <a:cubicBezTo>
                  <a:pt x="10187" y="19947"/>
                  <a:pt x="10096" y="19803"/>
                  <a:pt x="10042" y="19690"/>
                </a:cubicBezTo>
                <a:cubicBezTo>
                  <a:pt x="10176" y="19669"/>
                  <a:pt x="10281" y="19642"/>
                  <a:pt x="10281" y="19609"/>
                </a:cubicBezTo>
                <a:cubicBezTo>
                  <a:pt x="10294" y="19174"/>
                  <a:pt x="10309" y="18942"/>
                  <a:pt x="10268" y="18287"/>
                </a:cubicBezTo>
                <a:cubicBezTo>
                  <a:pt x="10228" y="17798"/>
                  <a:pt x="10243" y="17454"/>
                  <a:pt x="10176" y="16944"/>
                </a:cubicBezTo>
                <a:cubicBezTo>
                  <a:pt x="10109" y="16390"/>
                  <a:pt x="10015" y="16449"/>
                  <a:pt x="9908" y="15896"/>
                </a:cubicBezTo>
                <a:cubicBezTo>
                  <a:pt x="9868" y="15660"/>
                  <a:pt x="9825" y="15434"/>
                  <a:pt x="9879" y="15193"/>
                </a:cubicBezTo>
                <a:cubicBezTo>
                  <a:pt x="9892" y="15101"/>
                  <a:pt x="9987" y="14456"/>
                  <a:pt x="10000" y="14365"/>
                </a:cubicBezTo>
                <a:cubicBezTo>
                  <a:pt x="10027" y="13312"/>
                  <a:pt x="10097" y="12899"/>
                  <a:pt x="10231" y="11852"/>
                </a:cubicBezTo>
                <a:cubicBezTo>
                  <a:pt x="10257" y="11766"/>
                  <a:pt x="10376" y="11717"/>
                  <a:pt x="10469" y="11803"/>
                </a:cubicBezTo>
                <a:cubicBezTo>
                  <a:pt x="11207" y="12464"/>
                  <a:pt x="11555" y="12812"/>
                  <a:pt x="12145" y="13452"/>
                </a:cubicBezTo>
                <a:cubicBezTo>
                  <a:pt x="12615" y="13962"/>
                  <a:pt x="13770" y="15290"/>
                  <a:pt x="13851" y="15532"/>
                </a:cubicBezTo>
                <a:cubicBezTo>
                  <a:pt x="13985" y="15978"/>
                  <a:pt x="14184" y="16417"/>
                  <a:pt x="14345" y="16965"/>
                </a:cubicBezTo>
                <a:cubicBezTo>
                  <a:pt x="14640" y="17948"/>
                  <a:pt x="15661" y="19270"/>
                  <a:pt x="15795" y="19517"/>
                </a:cubicBezTo>
                <a:cubicBezTo>
                  <a:pt x="15822" y="19565"/>
                  <a:pt x="15834" y="19592"/>
                  <a:pt x="15874" y="19630"/>
                </a:cubicBezTo>
                <a:cubicBezTo>
                  <a:pt x="15888" y="19640"/>
                  <a:pt x="16007" y="19658"/>
                  <a:pt x="16168" y="19663"/>
                </a:cubicBezTo>
                <a:cubicBezTo>
                  <a:pt x="16221" y="19851"/>
                  <a:pt x="16234" y="20173"/>
                  <a:pt x="15912" y="20420"/>
                </a:cubicBezTo>
                <a:cubicBezTo>
                  <a:pt x="15631" y="20641"/>
                  <a:pt x="16113" y="20946"/>
                  <a:pt x="16113" y="20946"/>
                </a:cubicBezTo>
                <a:cubicBezTo>
                  <a:pt x="16408" y="21042"/>
                  <a:pt x="16743" y="21091"/>
                  <a:pt x="17186" y="21080"/>
                </a:cubicBezTo>
                <a:cubicBezTo>
                  <a:pt x="17615" y="21075"/>
                  <a:pt x="17884" y="21161"/>
                  <a:pt x="17978" y="21187"/>
                </a:cubicBezTo>
                <a:cubicBezTo>
                  <a:pt x="18031" y="21204"/>
                  <a:pt x="18057" y="21209"/>
                  <a:pt x="18057" y="21209"/>
                </a:cubicBezTo>
                <a:cubicBezTo>
                  <a:pt x="18057" y="21209"/>
                  <a:pt x="19373" y="21440"/>
                  <a:pt x="20848" y="21344"/>
                </a:cubicBezTo>
                <a:cubicBezTo>
                  <a:pt x="21478" y="21317"/>
                  <a:pt x="21546" y="21161"/>
                  <a:pt x="21104" y="20946"/>
                </a:cubicBezTo>
                <a:cubicBezTo>
                  <a:pt x="20447" y="20618"/>
                  <a:pt x="19682" y="20571"/>
                  <a:pt x="19361" y="20367"/>
                </a:cubicBezTo>
                <a:cubicBezTo>
                  <a:pt x="18771" y="19991"/>
                  <a:pt x="18409" y="19910"/>
                  <a:pt x="18288" y="19620"/>
                </a:cubicBezTo>
                <a:cubicBezTo>
                  <a:pt x="18449" y="19598"/>
                  <a:pt x="18543" y="19583"/>
                  <a:pt x="18543" y="19583"/>
                </a:cubicBezTo>
                <a:cubicBezTo>
                  <a:pt x="18543" y="19583"/>
                  <a:pt x="18461" y="19087"/>
                  <a:pt x="18368" y="18765"/>
                </a:cubicBezTo>
                <a:cubicBezTo>
                  <a:pt x="18126" y="17922"/>
                  <a:pt x="18046" y="17332"/>
                  <a:pt x="17965" y="16870"/>
                </a:cubicBezTo>
                <a:cubicBezTo>
                  <a:pt x="17831" y="16053"/>
                  <a:pt x="17360" y="15671"/>
                  <a:pt x="17253" y="15402"/>
                </a:cubicBezTo>
                <a:cubicBezTo>
                  <a:pt x="16851" y="14452"/>
                  <a:pt x="16690" y="14372"/>
                  <a:pt x="16449" y="13378"/>
                </a:cubicBezTo>
                <a:cubicBezTo>
                  <a:pt x="16408" y="13195"/>
                  <a:pt x="16221" y="11911"/>
                  <a:pt x="15912" y="11159"/>
                </a:cubicBezTo>
                <a:cubicBezTo>
                  <a:pt x="15738" y="10734"/>
                  <a:pt x="15405" y="10370"/>
                  <a:pt x="15137" y="9967"/>
                </a:cubicBezTo>
                <a:cubicBezTo>
                  <a:pt x="15218" y="10096"/>
                  <a:pt x="15269" y="9913"/>
                  <a:pt x="15564" y="9886"/>
                </a:cubicBezTo>
                <a:cubicBezTo>
                  <a:pt x="16208" y="9832"/>
                  <a:pt x="16476" y="9686"/>
                  <a:pt x="16838" y="9498"/>
                </a:cubicBezTo>
                <a:cubicBezTo>
                  <a:pt x="17723" y="9020"/>
                  <a:pt x="20312" y="7812"/>
                  <a:pt x="20714" y="7469"/>
                </a:cubicBezTo>
                <a:cubicBezTo>
                  <a:pt x="20888" y="7318"/>
                  <a:pt x="21195" y="7000"/>
                  <a:pt x="21208" y="6839"/>
                </a:cubicBezTo>
                <a:cubicBezTo>
                  <a:pt x="21222" y="6646"/>
                  <a:pt x="20727" y="6421"/>
                  <a:pt x="20580" y="6292"/>
                </a:cubicBezTo>
                <a:cubicBezTo>
                  <a:pt x="20379" y="6120"/>
                  <a:pt x="19881" y="5825"/>
                  <a:pt x="19599" y="5669"/>
                </a:cubicBezTo>
                <a:cubicBezTo>
                  <a:pt x="18889" y="5277"/>
                  <a:pt x="18528" y="5179"/>
                  <a:pt x="17496" y="4690"/>
                </a:cubicBezTo>
                <a:cubicBezTo>
                  <a:pt x="17335" y="4615"/>
                  <a:pt x="16586" y="4008"/>
                  <a:pt x="15862" y="3884"/>
                </a:cubicBezTo>
                <a:cubicBezTo>
                  <a:pt x="15192" y="3766"/>
                  <a:pt x="13968" y="3767"/>
                  <a:pt x="13968" y="3767"/>
                </a:cubicBezTo>
                <a:cubicBezTo>
                  <a:pt x="14116" y="3536"/>
                  <a:pt x="13620" y="3418"/>
                  <a:pt x="13620" y="3149"/>
                </a:cubicBezTo>
                <a:cubicBezTo>
                  <a:pt x="13620" y="2607"/>
                  <a:pt x="15057" y="2853"/>
                  <a:pt x="13729" y="1365"/>
                </a:cubicBezTo>
                <a:cubicBezTo>
                  <a:pt x="13595" y="1220"/>
                  <a:pt x="13324" y="554"/>
                  <a:pt x="12426" y="334"/>
                </a:cubicBezTo>
                <a:cubicBezTo>
                  <a:pt x="12305" y="302"/>
                  <a:pt x="12051" y="279"/>
                  <a:pt x="11957" y="236"/>
                </a:cubicBezTo>
                <a:cubicBezTo>
                  <a:pt x="11796" y="172"/>
                  <a:pt x="11555" y="87"/>
                  <a:pt x="11219" y="38"/>
                </a:cubicBezTo>
                <a:cubicBezTo>
                  <a:pt x="11126" y="25"/>
                  <a:pt x="10968" y="9"/>
                  <a:pt x="10767" y="3"/>
                </a:cubicBezTo>
                <a:close/>
                <a:moveTo>
                  <a:pt x="15514" y="5645"/>
                </a:moveTo>
                <a:cubicBezTo>
                  <a:pt x="15647" y="5640"/>
                  <a:pt x="15796" y="5665"/>
                  <a:pt x="15967" y="5723"/>
                </a:cubicBezTo>
                <a:cubicBezTo>
                  <a:pt x="16731" y="5981"/>
                  <a:pt x="18812" y="6904"/>
                  <a:pt x="18812" y="7022"/>
                </a:cubicBezTo>
                <a:cubicBezTo>
                  <a:pt x="18812" y="7113"/>
                  <a:pt x="18490" y="7365"/>
                  <a:pt x="17806" y="7838"/>
                </a:cubicBezTo>
                <a:cubicBezTo>
                  <a:pt x="17350" y="8155"/>
                  <a:pt x="16894" y="8365"/>
                  <a:pt x="16264" y="8763"/>
                </a:cubicBezTo>
                <a:cubicBezTo>
                  <a:pt x="16224" y="8790"/>
                  <a:pt x="15967" y="8972"/>
                  <a:pt x="15686" y="8961"/>
                </a:cubicBezTo>
                <a:cubicBezTo>
                  <a:pt x="15686" y="8961"/>
                  <a:pt x="15299" y="8919"/>
                  <a:pt x="14923" y="8817"/>
                </a:cubicBezTo>
                <a:cubicBezTo>
                  <a:pt x="14575" y="8720"/>
                  <a:pt x="14186" y="8736"/>
                  <a:pt x="14186" y="8758"/>
                </a:cubicBezTo>
                <a:cubicBezTo>
                  <a:pt x="14186" y="8763"/>
                  <a:pt x="13824" y="8521"/>
                  <a:pt x="13851" y="8021"/>
                </a:cubicBezTo>
                <a:cubicBezTo>
                  <a:pt x="13891" y="7054"/>
                  <a:pt x="14277" y="6722"/>
                  <a:pt x="14559" y="6340"/>
                </a:cubicBezTo>
                <a:cubicBezTo>
                  <a:pt x="14861" y="5938"/>
                  <a:pt x="15116" y="5661"/>
                  <a:pt x="15514" y="5645"/>
                </a:cubicBezTo>
                <a:close/>
                <a:moveTo>
                  <a:pt x="5395" y="5887"/>
                </a:moveTo>
                <a:cubicBezTo>
                  <a:pt x="5545" y="5876"/>
                  <a:pt x="5689" y="5902"/>
                  <a:pt x="5722" y="6028"/>
                </a:cubicBezTo>
                <a:cubicBezTo>
                  <a:pt x="5749" y="6120"/>
                  <a:pt x="5832" y="6280"/>
                  <a:pt x="5886" y="6414"/>
                </a:cubicBezTo>
                <a:cubicBezTo>
                  <a:pt x="6060" y="6844"/>
                  <a:pt x="6366" y="6931"/>
                  <a:pt x="6393" y="7210"/>
                </a:cubicBezTo>
                <a:cubicBezTo>
                  <a:pt x="6527" y="8430"/>
                  <a:pt x="5806" y="8382"/>
                  <a:pt x="5404" y="8919"/>
                </a:cubicBezTo>
                <a:cubicBezTo>
                  <a:pt x="5337" y="8903"/>
                  <a:pt x="4707" y="8988"/>
                  <a:pt x="4130" y="9095"/>
                </a:cubicBezTo>
                <a:cubicBezTo>
                  <a:pt x="3419" y="8778"/>
                  <a:pt x="3068" y="7651"/>
                  <a:pt x="2559" y="7281"/>
                </a:cubicBezTo>
                <a:cubicBezTo>
                  <a:pt x="2291" y="7082"/>
                  <a:pt x="3164" y="6834"/>
                  <a:pt x="3807" y="6544"/>
                </a:cubicBezTo>
                <a:cubicBezTo>
                  <a:pt x="4304" y="6323"/>
                  <a:pt x="4516" y="6228"/>
                  <a:pt x="5052" y="5964"/>
                </a:cubicBezTo>
                <a:cubicBezTo>
                  <a:pt x="5092" y="5946"/>
                  <a:pt x="5246" y="5898"/>
                  <a:pt x="5395" y="5887"/>
                </a:cubicBezTo>
                <a:close/>
              </a:path>
            </a:pathLst>
          </a:custGeom>
          <a:solidFill>
            <a:srgbClr val="432086"/>
          </a:solidFill>
          <a:ln w="12700">
            <a:miter lim="400000"/>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84" name="1"/>
          <p:cNvSpPr/>
          <p:nvPr/>
        </p:nvSpPr>
        <p:spPr>
          <a:xfrm>
            <a:off x="7896049" y="10298558"/>
            <a:ext cx="328307" cy="379106"/>
          </a:xfrm>
          <a:prstGeom prst="rect">
            <a:avLst/>
          </a:prstGeom>
          <a:solidFill>
            <a:srgbClr val="431F85"/>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700" b="1">
                <a:solidFill>
                  <a:srgbClr val="FFFFFF"/>
                </a:solidFill>
                <a:latin typeface="IBM Plex Sans"/>
                <a:ea typeface="IBM Plex Sans"/>
                <a:cs typeface="IBM Plex Sans"/>
                <a:sym typeface="IBM Plex Sans"/>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700" b="1" i="0" u="none" strike="noStrike" kern="0" cap="none" spc="0" normalizeH="0" baseline="0" noProof="0">
                <a:ln>
                  <a:noFill/>
                </a:ln>
                <a:solidFill>
                  <a:srgbClr val="FFFFFF"/>
                </a:solidFill>
                <a:effectLst/>
                <a:uLnTx/>
                <a:uFillTx/>
                <a:latin typeface="IBM Plex Sans"/>
                <a:sym typeface="IBM Plex Sans"/>
              </a:rPr>
              <a:t>1</a:t>
            </a:r>
          </a:p>
        </p:txBody>
      </p:sp>
      <p:sp>
        <p:nvSpPr>
          <p:cNvPr id="1985" name="2"/>
          <p:cNvSpPr/>
          <p:nvPr/>
        </p:nvSpPr>
        <p:spPr>
          <a:xfrm>
            <a:off x="8293020" y="10692361"/>
            <a:ext cx="328307" cy="379106"/>
          </a:xfrm>
          <a:prstGeom prst="rect">
            <a:avLst/>
          </a:prstGeom>
          <a:solidFill>
            <a:srgbClr val="431F85"/>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700" b="1">
                <a:solidFill>
                  <a:srgbClr val="FFFFFF"/>
                </a:solidFill>
                <a:latin typeface="IBM Plex Sans"/>
                <a:ea typeface="IBM Plex Sans"/>
                <a:cs typeface="IBM Plex Sans"/>
                <a:sym typeface="IBM Plex Sans"/>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700" b="1" i="0" u="none" strike="noStrike" kern="0" cap="none" spc="0" normalizeH="0" baseline="0" noProof="0">
                <a:ln>
                  <a:noFill/>
                </a:ln>
                <a:solidFill>
                  <a:srgbClr val="FFFFFF"/>
                </a:solidFill>
                <a:effectLst/>
                <a:uLnTx/>
                <a:uFillTx/>
                <a:latin typeface="IBM Plex Sans"/>
                <a:sym typeface="IBM Plex Sans"/>
              </a:rPr>
              <a:t>2</a:t>
            </a:r>
          </a:p>
        </p:txBody>
      </p:sp>
      <p:sp>
        <p:nvSpPr>
          <p:cNvPr id="1986" name="3"/>
          <p:cNvSpPr/>
          <p:nvPr/>
        </p:nvSpPr>
        <p:spPr>
          <a:xfrm>
            <a:off x="8713598" y="10298558"/>
            <a:ext cx="328306" cy="379106"/>
          </a:xfrm>
          <a:prstGeom prst="rect">
            <a:avLst/>
          </a:prstGeom>
          <a:solidFill>
            <a:srgbClr val="431F85"/>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defTabSz="2438337">
              <a:defRPr sz="1700" b="1">
                <a:solidFill>
                  <a:srgbClr val="FFFFFF"/>
                </a:solidFill>
                <a:latin typeface="IBM Plex Sans"/>
                <a:ea typeface="IBM Plex Sans"/>
                <a:cs typeface="IBM Plex Sans"/>
                <a:sym typeface="IBM Plex Sans"/>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700" b="1" i="0" u="none" strike="noStrike" kern="0" cap="none" spc="0" normalizeH="0" baseline="0" noProof="0">
                <a:ln>
                  <a:noFill/>
                </a:ln>
                <a:solidFill>
                  <a:srgbClr val="FFFFFF"/>
                </a:solidFill>
                <a:effectLst/>
                <a:uLnTx/>
                <a:uFillTx/>
                <a:latin typeface="IBM Plex Sans"/>
                <a:sym typeface="IBM Plex Sans"/>
              </a:rPr>
              <a:t>3</a:t>
            </a:r>
          </a:p>
        </p:txBody>
      </p:sp>
      <p:sp>
        <p:nvSpPr>
          <p:cNvPr id="1996" name="Connection Line"/>
          <p:cNvSpPr/>
          <p:nvPr/>
        </p:nvSpPr>
        <p:spPr>
          <a:xfrm>
            <a:off x="8650098" y="10716814"/>
            <a:ext cx="217806" cy="217806"/>
          </a:xfrm>
          <a:custGeom>
            <a:avLst/>
            <a:gdLst/>
            <a:ahLst/>
            <a:cxnLst>
              <a:cxn ang="0">
                <a:pos x="wd2" y="hd2"/>
              </a:cxn>
              <a:cxn ang="5400000">
                <a:pos x="wd2" y="hd2"/>
              </a:cxn>
              <a:cxn ang="10800000">
                <a:pos x="wd2" y="hd2"/>
              </a:cxn>
              <a:cxn ang="16200000">
                <a:pos x="wd2" y="hd2"/>
              </a:cxn>
            </a:cxnLst>
            <a:rect l="0" t="0" r="r" b="b"/>
            <a:pathLst>
              <a:path w="20419" h="20419" extrusionOk="0">
                <a:moveTo>
                  <a:pt x="20250" y="0"/>
                </a:moveTo>
                <a:cubicBezTo>
                  <a:pt x="21600" y="14850"/>
                  <a:pt x="14850" y="21600"/>
                  <a:pt x="0" y="20250"/>
                </a:cubicBezTo>
              </a:path>
            </a:pathLst>
          </a:custGeom>
          <a:ln w="25400">
            <a:solidFill>
              <a:srgbClr val="431F85"/>
            </a:solidFill>
            <a:headEnd type="triangle"/>
          </a:ln>
        </p:spPr>
        <p:txBody>
          <a:bodyP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97" name="Connection Line"/>
          <p:cNvSpPr/>
          <p:nvPr/>
        </p:nvSpPr>
        <p:spPr>
          <a:xfrm>
            <a:off x="8018663" y="10716814"/>
            <a:ext cx="217806" cy="217806"/>
          </a:xfrm>
          <a:custGeom>
            <a:avLst/>
            <a:gdLst/>
            <a:ahLst/>
            <a:cxnLst>
              <a:cxn ang="0">
                <a:pos x="wd2" y="hd2"/>
              </a:cxn>
              <a:cxn ang="5400000">
                <a:pos x="wd2" y="hd2"/>
              </a:cxn>
              <a:cxn ang="10800000">
                <a:pos x="wd2" y="hd2"/>
              </a:cxn>
              <a:cxn ang="16200000">
                <a:pos x="wd2" y="hd2"/>
              </a:cxn>
            </a:cxnLst>
            <a:rect l="0" t="0" r="r" b="b"/>
            <a:pathLst>
              <a:path w="20419" h="20419" extrusionOk="0">
                <a:moveTo>
                  <a:pt x="169" y="0"/>
                </a:moveTo>
                <a:cubicBezTo>
                  <a:pt x="-1181" y="14850"/>
                  <a:pt x="5569" y="21600"/>
                  <a:pt x="20419" y="20250"/>
                </a:cubicBezTo>
              </a:path>
            </a:pathLst>
          </a:custGeom>
          <a:ln w="25400">
            <a:solidFill>
              <a:srgbClr val="431F85"/>
            </a:solidFill>
            <a:miter lim="400000"/>
            <a:tailEnd type="triangle"/>
          </a:ln>
        </p:spPr>
        <p:txBody>
          <a:bodyP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pic>
        <p:nvPicPr>
          <p:cNvPr id="1989" name="Image" descr="Image"/>
          <p:cNvPicPr>
            <a:picLocks noChangeAspect="1"/>
          </p:cNvPicPr>
          <p:nvPr/>
        </p:nvPicPr>
        <p:blipFill>
          <a:blip r:embed="rId2"/>
          <a:stretch>
            <a:fillRect/>
          </a:stretch>
        </p:blipFill>
        <p:spPr>
          <a:xfrm rot="10800000">
            <a:off x="2517430" y="10320473"/>
            <a:ext cx="828317" cy="767283"/>
          </a:xfrm>
          <a:prstGeom prst="rect">
            <a:avLst/>
          </a:prstGeom>
          <a:ln w="12700">
            <a:miter lim="400000"/>
          </a:ln>
        </p:spPr>
      </p:pic>
      <p:pic>
        <p:nvPicPr>
          <p:cNvPr id="1990" name="Image" descr="Image"/>
          <p:cNvPicPr>
            <a:picLocks noChangeAspect="1"/>
          </p:cNvPicPr>
          <p:nvPr/>
        </p:nvPicPr>
        <p:blipFill>
          <a:blip r:embed="rId3"/>
          <a:stretch>
            <a:fillRect/>
          </a:stretch>
        </p:blipFill>
        <p:spPr>
          <a:xfrm>
            <a:off x="4006901" y="9871342"/>
            <a:ext cx="889001" cy="1219201"/>
          </a:xfrm>
          <a:prstGeom prst="rect">
            <a:avLst/>
          </a:prstGeom>
          <a:ln w="12700">
            <a:miter lim="400000"/>
          </a:ln>
        </p:spPr>
      </p:pic>
      <p:pic>
        <p:nvPicPr>
          <p:cNvPr id="1991" name="Image" descr="Image"/>
          <p:cNvPicPr>
            <a:picLocks noChangeAspect="1"/>
          </p:cNvPicPr>
          <p:nvPr/>
        </p:nvPicPr>
        <p:blipFill>
          <a:blip r:embed="rId4"/>
          <a:stretch>
            <a:fillRect/>
          </a:stretch>
        </p:blipFill>
        <p:spPr>
          <a:xfrm>
            <a:off x="9253777" y="10506787"/>
            <a:ext cx="542473" cy="587060"/>
          </a:xfrm>
          <a:prstGeom prst="rect">
            <a:avLst/>
          </a:prstGeom>
          <a:ln w="12700">
            <a:miter lim="400000"/>
          </a:ln>
        </p:spPr>
      </p:pic>
      <p:pic>
        <p:nvPicPr>
          <p:cNvPr id="1992" name="Image" descr="Image"/>
          <p:cNvPicPr>
            <a:picLocks noChangeAspect="1"/>
          </p:cNvPicPr>
          <p:nvPr/>
        </p:nvPicPr>
        <p:blipFill>
          <a:blip r:embed="rId5"/>
          <a:stretch>
            <a:fillRect/>
          </a:stretch>
        </p:blipFill>
        <p:spPr>
          <a:xfrm>
            <a:off x="10426177" y="9896742"/>
            <a:ext cx="850901" cy="1193801"/>
          </a:xfrm>
          <a:prstGeom prst="rect">
            <a:avLst/>
          </a:prstGeom>
          <a:ln w="12700">
            <a:miter lim="400000"/>
          </a:ln>
        </p:spPr>
      </p:pic>
      <p:pic>
        <p:nvPicPr>
          <p:cNvPr id="1993" name="Image" descr="Image"/>
          <p:cNvPicPr>
            <a:picLocks noChangeAspect="1"/>
          </p:cNvPicPr>
          <p:nvPr/>
        </p:nvPicPr>
        <p:blipFill>
          <a:blip r:embed="rId6"/>
          <a:stretch>
            <a:fillRect/>
          </a:stretch>
        </p:blipFill>
        <p:spPr>
          <a:xfrm>
            <a:off x="5423579" y="10587286"/>
            <a:ext cx="1176391" cy="480876"/>
          </a:xfrm>
          <a:prstGeom prst="rect">
            <a:avLst/>
          </a:prstGeom>
          <a:ln w="12700">
            <a:miter lim="400000"/>
          </a:ln>
        </p:spPr>
      </p:pic>
    </p:spTree>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9" name="Slide Number"/>
          <p:cNvSpPr txBox="1">
            <a:spLocks noGrp="1"/>
          </p:cNvSpPr>
          <p:nvPr>
            <p:ph type="sldNum" sz="quarter" idx="2"/>
          </p:nvPr>
        </p:nvSpPr>
        <p:spPr>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21</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2000" name="Your IBM team"/>
          <p:cNvSpPr txBox="1">
            <a:spLocks noGrp="1"/>
          </p:cNvSpPr>
          <p:nvPr>
            <p:ph type="body" idx="21"/>
          </p:nvPr>
        </p:nvSpPr>
        <p:spPr>
          <a:xfrm>
            <a:off x="524459" y="52139"/>
            <a:ext cx="11138028" cy="2247901"/>
          </a:xfrm>
          <a:prstGeom prst="rect">
            <a:avLst/>
          </a:prstGeom>
        </p:spPr>
        <p:txBody>
          <a:bodyPr/>
          <a:lstStyle/>
          <a:p>
            <a:r>
              <a:t>Your IBM team</a:t>
            </a:r>
          </a:p>
        </p:txBody>
      </p:sp>
      <p:sp>
        <p:nvSpPr>
          <p:cNvPr id="2001" name="Content Placeholder 2"/>
          <p:cNvSpPr/>
          <p:nvPr/>
        </p:nvSpPr>
        <p:spPr>
          <a:xfrm>
            <a:off x="-2264" y="3444934"/>
            <a:ext cx="6096001" cy="8568417"/>
          </a:xfrm>
          <a:prstGeom prst="rect">
            <a:avLst/>
          </a:prstGeom>
          <a:solidFill>
            <a:srgbClr val="00114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35000" tIns="635000" rIns="635000" bIns="635000"/>
          <a:lstStyle/>
          <a:p>
            <a:pPr marL="0" marR="0" lvl="0" indent="0" algn="l" defTabSz="457200" rtl="0" eaLnBrk="1" fontAlgn="auto" latinLnBrk="0" hangingPunct="0">
              <a:lnSpc>
                <a:spcPts val="6100"/>
              </a:lnSpc>
              <a:spcBef>
                <a:spcPts val="100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Your Name]</a:t>
            </a:r>
          </a:p>
          <a:p>
            <a:pPr marL="0" marR="0" lvl="0" indent="0" algn="l" defTabSz="457200" rtl="0" eaLnBrk="1" fontAlgn="auto" latinLnBrk="0" hangingPunct="0">
              <a:lnSpc>
                <a:spcPts val="6100"/>
              </a:lnSpc>
              <a:spcBef>
                <a:spcPts val="1000"/>
              </a:spcBef>
              <a:spcAft>
                <a:spcPts val="0"/>
              </a:spcAft>
              <a:buClrTx/>
              <a:buSzTx/>
              <a:buFontTx/>
              <a:buNone/>
              <a:tabLst/>
              <a:defRPr sz="3600" b="1">
                <a:solidFill>
                  <a:srgbClr val="FFFFFF"/>
                </a:solidFill>
                <a:latin typeface="IBM Plex Sans"/>
                <a:ea typeface="IBM Plex Sans"/>
                <a:cs typeface="IBM Plex Sans"/>
                <a:sym typeface="IBM Plex Sans"/>
              </a:defRPr>
            </a:pPr>
            <a:r>
              <a:rPr kumimoji="0" sz="3600" b="1" i="0" u="none" strike="noStrike" kern="0" cap="none" spc="0" normalizeH="0" baseline="0" noProof="0">
                <a:ln>
                  <a:noFill/>
                </a:ln>
                <a:solidFill>
                  <a:srgbClr val="FFFFFF"/>
                </a:solidFill>
                <a:effectLst/>
                <a:uLnTx/>
                <a:uFillTx/>
                <a:latin typeface="IBM Plex Sans"/>
                <a:sym typeface="IBM Plex Sans"/>
              </a:rPr>
              <a:t>Customer Success Manager for [Client]</a:t>
            </a:r>
          </a:p>
          <a:p>
            <a:pPr marL="0" marR="0" lvl="0" indent="0" algn="l" defTabSz="457200" rtl="0" eaLnBrk="1" fontAlgn="auto" latinLnBrk="0" hangingPunct="0">
              <a:lnSpc>
                <a:spcPts val="6100"/>
              </a:lnSpc>
              <a:spcBef>
                <a:spcPts val="100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Your Email]</a:t>
            </a:r>
          </a:p>
          <a:p>
            <a:pPr marL="0" marR="0" lvl="0" indent="0" algn="l" defTabSz="457200" rtl="0" eaLnBrk="1" fontAlgn="auto" latinLnBrk="0" hangingPunct="0">
              <a:lnSpc>
                <a:spcPts val="6100"/>
              </a:lnSpc>
              <a:spcBef>
                <a:spcPts val="1000"/>
              </a:spcBef>
              <a:spcAft>
                <a:spcPts val="0"/>
              </a:spcAft>
              <a:buClrTx/>
              <a:buSzTx/>
              <a:buFontTx/>
              <a:buNone/>
              <a:tabLst/>
              <a:defRPr sz="3600">
                <a:solidFill>
                  <a:srgbClr val="FFFFFF"/>
                </a:solidFill>
                <a:latin typeface="IBM Plex Sans"/>
                <a:ea typeface="IBM Plex Sans"/>
                <a:cs typeface="IBM Plex Sans"/>
                <a:sym typeface="IBM Plex Sans"/>
              </a:defRPr>
            </a:pPr>
            <a:endParaRPr kumimoji="0" sz="3600" b="0" i="0" u="none" strike="noStrike" kern="0" cap="none" spc="0" normalizeH="0" baseline="0" noProof="0">
              <a:ln>
                <a:noFill/>
              </a:ln>
              <a:solidFill>
                <a:srgbClr val="FFFFFF"/>
              </a:solidFill>
              <a:effectLst/>
              <a:uLnTx/>
              <a:uFillTx/>
              <a:latin typeface="IBM Plex Sans"/>
              <a:sym typeface="IBM Plex Sans"/>
            </a:endParaRPr>
          </a:p>
          <a:p>
            <a:pPr marL="0" marR="0" lvl="0" indent="0" algn="l" defTabSz="457200" rtl="0" eaLnBrk="1" fontAlgn="auto" latinLnBrk="0" hangingPunct="0">
              <a:lnSpc>
                <a:spcPts val="6100"/>
              </a:lnSpc>
              <a:spcBef>
                <a:spcPts val="100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I am here as a point of contact for IBM. Please reach out to me with concerns or questions at any time.</a:t>
            </a:r>
            <a:br>
              <a:rPr kumimoji="0" sz="3600" b="0" i="0" u="none" strike="noStrike" kern="0" cap="none" spc="0" normalizeH="0" baseline="0" noProof="0">
                <a:ln>
                  <a:noFill/>
                </a:ln>
                <a:solidFill>
                  <a:srgbClr val="FFFFFF"/>
                </a:solidFill>
                <a:effectLst/>
                <a:uLnTx/>
                <a:uFillTx/>
                <a:latin typeface="IBM Plex Sans"/>
                <a:sym typeface="IBM Plex Sans"/>
              </a:rPr>
            </a:br>
            <a:endParaRPr kumimoji="0" sz="3600" b="0" i="0" u="none" strike="noStrike" kern="0" cap="none" spc="0" normalizeH="0" baseline="0" noProof="0">
              <a:ln>
                <a:noFill/>
              </a:ln>
              <a:solidFill>
                <a:srgbClr val="FFFFFF"/>
              </a:solidFill>
              <a:effectLst/>
              <a:uLnTx/>
              <a:uFillTx/>
              <a:latin typeface="IBM Plex Sans"/>
              <a:sym typeface="IBM Plex Sans"/>
            </a:endParaRPr>
          </a:p>
        </p:txBody>
      </p:sp>
      <p:sp>
        <p:nvSpPr>
          <p:cNvPr id="2002" name="Content Placeholder 3"/>
          <p:cNvSpPr/>
          <p:nvPr/>
        </p:nvSpPr>
        <p:spPr>
          <a:xfrm>
            <a:off x="6099665" y="3444931"/>
            <a:ext cx="6096001" cy="4270936"/>
          </a:xfrm>
          <a:prstGeom prst="rect">
            <a:avLst/>
          </a:prstGeom>
          <a:solidFill>
            <a:srgbClr val="001D6C"/>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35000" tIns="635000" rIns="635000" bIns="635000"/>
          <a:lstStyle/>
          <a:p>
            <a:pPr marL="0" marR="0" lvl="0" indent="0" algn="l" defTabSz="457200" rtl="0" eaLnBrk="1" fontAlgn="auto" latinLnBrk="0" hangingPunct="0">
              <a:lnSpc>
                <a:spcPts val="61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Name]</a:t>
            </a:r>
          </a:p>
          <a:p>
            <a:pPr marL="0" marR="0" lvl="0" indent="0" algn="l" defTabSz="457200" rtl="0" eaLnBrk="1" fontAlgn="auto" latinLnBrk="0" hangingPunct="0">
              <a:lnSpc>
                <a:spcPts val="6100"/>
              </a:lnSpc>
              <a:spcBef>
                <a:spcPts val="0"/>
              </a:spcBef>
              <a:spcAft>
                <a:spcPts val="0"/>
              </a:spcAft>
              <a:buClrTx/>
              <a:buSzTx/>
              <a:buFontTx/>
              <a:buNone/>
              <a:tabLst/>
              <a:defRPr sz="3600" b="1">
                <a:solidFill>
                  <a:srgbClr val="FFFFFF"/>
                </a:solidFill>
                <a:latin typeface="IBM Plex Sans"/>
                <a:ea typeface="IBM Plex Sans"/>
                <a:cs typeface="IBM Plex Sans"/>
                <a:sym typeface="IBM Plex Sans"/>
              </a:defRPr>
            </a:pPr>
            <a:r>
              <a:rPr kumimoji="0" sz="3600" b="1" i="0" u="none" strike="noStrike" kern="0" cap="none" spc="0" normalizeH="0" baseline="0" noProof="0">
                <a:ln>
                  <a:noFill/>
                </a:ln>
                <a:solidFill>
                  <a:srgbClr val="FFFFFF"/>
                </a:solidFill>
                <a:effectLst/>
                <a:uLnTx/>
                <a:uFillTx/>
                <a:latin typeface="IBM Plex Sans"/>
                <a:sym typeface="IBM Plex Sans"/>
              </a:rPr>
              <a:t>IBM Client Executive</a:t>
            </a:r>
          </a:p>
          <a:p>
            <a:pPr marL="0" marR="0" lvl="0" indent="0" algn="l" defTabSz="457200" rtl="0" eaLnBrk="1" fontAlgn="auto" latinLnBrk="0" hangingPunct="0">
              <a:lnSpc>
                <a:spcPts val="61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Email</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Number</a:t>
            </a:r>
          </a:p>
        </p:txBody>
      </p:sp>
      <p:sp>
        <p:nvSpPr>
          <p:cNvPr id="2003" name="Content Placeholder 4"/>
          <p:cNvSpPr/>
          <p:nvPr/>
        </p:nvSpPr>
        <p:spPr>
          <a:xfrm>
            <a:off x="12192827" y="3444931"/>
            <a:ext cx="6096001" cy="4270936"/>
          </a:xfrm>
          <a:prstGeom prst="rect">
            <a:avLst/>
          </a:prstGeom>
          <a:solidFill>
            <a:srgbClr val="002D9C"/>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35000" tIns="635000" rIns="635000" bIns="635000"/>
          <a:lstStyle/>
          <a:p>
            <a:pPr marL="0" marR="0" lvl="0" indent="0" algn="l" defTabSz="12700" rtl="0" eaLnBrk="1" fontAlgn="auto" latinLnBrk="0" hangingPunct="0">
              <a:lnSpc>
                <a:spcPct val="1100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Name]</a:t>
            </a:r>
          </a:p>
          <a:p>
            <a:pPr marL="0" marR="0" lvl="0" indent="0" algn="l" defTabSz="12700" rtl="0" eaLnBrk="1" fontAlgn="auto" latinLnBrk="0" hangingPunct="0">
              <a:lnSpc>
                <a:spcPct val="110000"/>
              </a:lnSpc>
              <a:spcBef>
                <a:spcPts val="0"/>
              </a:spcBef>
              <a:spcAft>
                <a:spcPts val="0"/>
              </a:spcAft>
              <a:buClrTx/>
              <a:buSzTx/>
              <a:buFontTx/>
              <a:buNone/>
              <a:tabLst/>
              <a:defRPr sz="3600" b="1">
                <a:solidFill>
                  <a:srgbClr val="FFFFFF"/>
                </a:solidFill>
                <a:latin typeface="IBM Plex Sans"/>
                <a:ea typeface="IBM Plex Sans"/>
                <a:cs typeface="IBM Plex Sans"/>
                <a:sym typeface="IBM Plex Sans"/>
              </a:defRPr>
            </a:pPr>
            <a:r>
              <a:rPr kumimoji="0" sz="3600" b="1" i="0" u="none" strike="noStrike" kern="0" cap="none" spc="0" normalizeH="0" baseline="0" noProof="0">
                <a:ln>
                  <a:noFill/>
                </a:ln>
                <a:solidFill>
                  <a:srgbClr val="FFFFFF"/>
                </a:solidFill>
                <a:effectLst/>
                <a:uLnTx/>
                <a:uFillTx/>
                <a:latin typeface="IBM Plex Sans"/>
                <a:sym typeface="IBM Plex Sans"/>
              </a:rPr>
              <a:t>Client Sales Rep</a:t>
            </a:r>
          </a:p>
          <a:p>
            <a:pPr marL="0" marR="0" lvl="0" indent="0" algn="l" defTabSz="12700" rtl="0" eaLnBrk="1" fontAlgn="auto" latinLnBrk="0" hangingPunct="0">
              <a:lnSpc>
                <a:spcPct val="1100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Email</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Number</a:t>
            </a:r>
          </a:p>
        </p:txBody>
      </p:sp>
      <p:sp>
        <p:nvSpPr>
          <p:cNvPr id="2004" name="Content Placeholder 2"/>
          <p:cNvSpPr/>
          <p:nvPr/>
        </p:nvSpPr>
        <p:spPr>
          <a:xfrm>
            <a:off x="18294196" y="3444934"/>
            <a:ext cx="6096001" cy="4270936"/>
          </a:xfrm>
          <a:prstGeom prst="rect">
            <a:avLst/>
          </a:prstGeom>
          <a:solidFill>
            <a:srgbClr val="0043CE"/>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35000" tIns="635000" rIns="635000" bIns="635000"/>
          <a:lstStyle/>
          <a:p>
            <a:pPr marL="0" marR="0" lvl="0" indent="0" algn="l" defTabSz="12700" rtl="0" eaLnBrk="1" fontAlgn="auto" latinLnBrk="0" hangingPunct="0">
              <a:lnSpc>
                <a:spcPct val="1100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Name]</a:t>
            </a:r>
          </a:p>
          <a:p>
            <a:pPr marL="0" marR="0" lvl="0" indent="0" algn="l" defTabSz="12700" rtl="0" eaLnBrk="1" fontAlgn="auto" latinLnBrk="0" hangingPunct="0">
              <a:lnSpc>
                <a:spcPct val="1100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1" i="0" u="none" strike="noStrike" kern="0" cap="none" spc="0" normalizeH="0" baseline="0" noProof="0">
                <a:ln>
                  <a:noFill/>
                </a:ln>
                <a:solidFill>
                  <a:srgbClr val="FFFFFF"/>
                </a:solidFill>
                <a:effectLst/>
                <a:uLnTx/>
                <a:uFillTx/>
                <a:latin typeface="IBM Plex Sans"/>
                <a:sym typeface="IBM Plex Sans"/>
              </a:rPr>
              <a:t>IBM Support</a:t>
            </a:r>
            <a:br>
              <a:rPr kumimoji="0" sz="3600" b="1"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Email</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Number</a:t>
            </a:r>
          </a:p>
        </p:txBody>
      </p:sp>
      <p:sp>
        <p:nvSpPr>
          <p:cNvPr id="2005" name="Content Placeholder 2"/>
          <p:cNvSpPr/>
          <p:nvPr/>
        </p:nvSpPr>
        <p:spPr>
          <a:xfrm>
            <a:off x="6088931" y="7722188"/>
            <a:ext cx="6108701" cy="4270936"/>
          </a:xfrm>
          <a:prstGeom prst="rect">
            <a:avLst/>
          </a:prstGeom>
          <a:solidFill>
            <a:srgbClr val="0F62FE"/>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35000" tIns="635000" rIns="635000" bIns="635000"/>
          <a:lstStyle/>
          <a:p>
            <a:pPr marL="0" marR="0" lvl="0" indent="0" algn="l" defTabSz="457200" rtl="0" eaLnBrk="1" fontAlgn="auto" latinLnBrk="0" hangingPunct="0">
              <a:lnSpc>
                <a:spcPts val="6100"/>
              </a:lnSpc>
              <a:spcBef>
                <a:spcPts val="100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Name]</a:t>
            </a:r>
          </a:p>
          <a:p>
            <a:pPr marL="0" marR="0" lvl="0" indent="0" algn="l" defTabSz="457200" rtl="0" eaLnBrk="1" fontAlgn="auto" latinLnBrk="0" hangingPunct="0">
              <a:lnSpc>
                <a:spcPts val="6100"/>
              </a:lnSpc>
              <a:spcBef>
                <a:spcPts val="100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1" i="0" u="none" strike="noStrike" kern="0" cap="none" spc="0" normalizeH="0" baseline="0" noProof="0">
                <a:ln>
                  <a:noFill/>
                </a:ln>
                <a:solidFill>
                  <a:srgbClr val="FFFFFF"/>
                </a:solidFill>
                <a:effectLst/>
                <a:uLnTx/>
                <a:uFillTx/>
                <a:latin typeface="IBM Plex Sans"/>
                <a:sym typeface="IBM Plex Sans"/>
              </a:rPr>
              <a:t>IBM Cloud Billing </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only if not IBM Cloud)</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Email</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Number</a:t>
            </a:r>
          </a:p>
        </p:txBody>
      </p:sp>
      <p:sp>
        <p:nvSpPr>
          <p:cNvPr id="2006" name="Content Placeholder 3"/>
          <p:cNvSpPr/>
          <p:nvPr/>
        </p:nvSpPr>
        <p:spPr>
          <a:xfrm>
            <a:off x="12190860" y="7722186"/>
            <a:ext cx="6108701" cy="4270936"/>
          </a:xfrm>
          <a:prstGeom prst="rect">
            <a:avLst/>
          </a:prstGeom>
          <a:solidFill>
            <a:srgbClr val="4589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35000" tIns="635000" rIns="635000" bIns="635000"/>
          <a:lstStyle/>
          <a:p>
            <a:pPr marL="0" marR="0" lvl="0" indent="0" algn="l" defTabSz="457200" rtl="0" eaLnBrk="1" fontAlgn="auto" latinLnBrk="0" hangingPunct="0">
              <a:lnSpc>
                <a:spcPts val="5700"/>
              </a:lnSpc>
              <a:spcBef>
                <a:spcPts val="0"/>
              </a:spcBef>
              <a:spcAft>
                <a:spcPts val="0"/>
              </a:spcAft>
              <a:buClrTx/>
              <a:buSzTx/>
              <a:buFontTx/>
              <a:buNone/>
              <a:tabLst/>
              <a:defRPr sz="3300">
                <a:solidFill>
                  <a:srgbClr val="FFFFFF"/>
                </a:solidFill>
                <a:latin typeface="IBM Plex Sans"/>
                <a:ea typeface="IBM Plex Sans"/>
                <a:cs typeface="IBM Plex Sans"/>
                <a:sym typeface="IBM Plex Sans"/>
              </a:defRPr>
            </a:pPr>
            <a:r>
              <a:rPr kumimoji="0" sz="3300" b="0" i="0" u="none" strike="noStrike" kern="0" cap="none" spc="0" normalizeH="0" baseline="0" noProof="0">
                <a:ln>
                  <a:noFill/>
                </a:ln>
                <a:solidFill>
                  <a:srgbClr val="FFFFFF"/>
                </a:solidFill>
                <a:effectLst/>
                <a:uLnTx/>
                <a:uFillTx/>
                <a:latin typeface="IBM Plex Sans"/>
                <a:sym typeface="IBM Plex Sans"/>
              </a:rPr>
              <a:t>[Name]</a:t>
            </a:r>
          </a:p>
          <a:p>
            <a:pPr marL="0" marR="0" lvl="0" indent="0" algn="l" defTabSz="457200" rtl="0" eaLnBrk="1" fontAlgn="auto" latinLnBrk="0" hangingPunct="0">
              <a:lnSpc>
                <a:spcPts val="5700"/>
              </a:lnSpc>
              <a:spcBef>
                <a:spcPts val="0"/>
              </a:spcBef>
              <a:spcAft>
                <a:spcPts val="0"/>
              </a:spcAft>
              <a:buClrTx/>
              <a:buSzTx/>
              <a:buFontTx/>
              <a:buNone/>
              <a:tabLst/>
              <a:defRPr sz="3300" b="1">
                <a:solidFill>
                  <a:srgbClr val="FFFFFF"/>
                </a:solidFill>
                <a:latin typeface="IBM Plex Sans"/>
                <a:ea typeface="IBM Plex Sans"/>
                <a:cs typeface="IBM Plex Sans"/>
                <a:sym typeface="IBM Plex Sans"/>
              </a:defRPr>
            </a:pPr>
            <a:r>
              <a:rPr kumimoji="0" sz="3300" b="1" i="0" u="none" strike="noStrike" kern="0" cap="none" spc="0" normalizeH="0" baseline="0" noProof="0">
                <a:ln>
                  <a:noFill/>
                </a:ln>
                <a:solidFill>
                  <a:srgbClr val="FFFFFF"/>
                </a:solidFill>
                <a:effectLst/>
                <a:uLnTx/>
                <a:uFillTx/>
                <a:latin typeface="IBM Plex Sans"/>
                <a:sym typeface="IBM Plex Sans"/>
              </a:rPr>
              <a:t>Feedback to Offering Management</a:t>
            </a:r>
          </a:p>
          <a:p>
            <a:pPr marL="0" marR="0" lvl="0" indent="0" algn="l" defTabSz="457200" rtl="0" eaLnBrk="1" fontAlgn="auto" latinLnBrk="0" hangingPunct="0">
              <a:lnSpc>
                <a:spcPts val="5700"/>
              </a:lnSpc>
              <a:spcBef>
                <a:spcPts val="0"/>
              </a:spcBef>
              <a:spcAft>
                <a:spcPts val="0"/>
              </a:spcAft>
              <a:buClrTx/>
              <a:buSzTx/>
              <a:buFontTx/>
              <a:buNone/>
              <a:tabLst/>
              <a:defRPr sz="3300">
                <a:solidFill>
                  <a:srgbClr val="FFFFFF"/>
                </a:solidFill>
                <a:latin typeface="IBM Plex Sans"/>
                <a:ea typeface="IBM Plex Sans"/>
                <a:cs typeface="IBM Plex Sans"/>
                <a:sym typeface="IBM Plex Sans"/>
              </a:defRPr>
            </a:pPr>
            <a:r>
              <a:rPr kumimoji="0" sz="3300" b="0" i="0" u="none" strike="noStrike" kern="0" cap="none" spc="0" normalizeH="0" baseline="0" noProof="0">
                <a:ln>
                  <a:noFill/>
                </a:ln>
                <a:solidFill>
                  <a:srgbClr val="FFFFFF"/>
                </a:solidFill>
                <a:effectLst/>
                <a:uLnTx/>
                <a:uFillTx/>
                <a:latin typeface="IBM Plex Sans"/>
                <a:sym typeface="IBM Plex Sans"/>
              </a:rPr>
              <a:t>Email</a:t>
            </a:r>
            <a:br>
              <a:rPr kumimoji="0" sz="3300" b="0" i="0" u="none" strike="noStrike" kern="0" cap="none" spc="0" normalizeH="0" baseline="0" noProof="0">
                <a:ln>
                  <a:noFill/>
                </a:ln>
                <a:solidFill>
                  <a:srgbClr val="FFFFFF"/>
                </a:solidFill>
                <a:effectLst/>
                <a:uLnTx/>
                <a:uFillTx/>
                <a:latin typeface="IBM Plex Sans"/>
                <a:sym typeface="IBM Plex Sans"/>
              </a:rPr>
            </a:br>
            <a:r>
              <a:rPr kumimoji="0" sz="3300" b="0" i="0" u="none" strike="noStrike" kern="0" cap="none" spc="0" normalizeH="0" baseline="0" noProof="0">
                <a:ln>
                  <a:noFill/>
                </a:ln>
                <a:solidFill>
                  <a:srgbClr val="FFFFFF"/>
                </a:solidFill>
                <a:effectLst/>
                <a:uLnTx/>
                <a:uFillTx/>
                <a:latin typeface="IBM Plex Sans"/>
                <a:sym typeface="IBM Plex Sans"/>
              </a:rPr>
              <a:t>Number</a:t>
            </a:r>
          </a:p>
        </p:txBody>
      </p:sp>
      <p:sp>
        <p:nvSpPr>
          <p:cNvPr id="2007" name="Content Placeholder 4"/>
          <p:cNvSpPr/>
          <p:nvPr/>
        </p:nvSpPr>
        <p:spPr>
          <a:xfrm>
            <a:off x="18284021" y="7722186"/>
            <a:ext cx="6108701" cy="4270936"/>
          </a:xfrm>
          <a:prstGeom prst="rect">
            <a:avLst/>
          </a:prstGeom>
          <a:solidFill>
            <a:srgbClr val="78A9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35000" tIns="635000" rIns="635000" bIns="635000"/>
          <a:lstStyle/>
          <a:p>
            <a:pPr marL="0" marR="0" lvl="0" indent="0" algn="l" defTabSz="12700" rtl="0" eaLnBrk="1" fontAlgn="auto" latinLnBrk="0" hangingPunct="0">
              <a:lnSpc>
                <a:spcPct val="1100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Name]</a:t>
            </a:r>
          </a:p>
          <a:p>
            <a:pPr marL="0" marR="0" lvl="0" indent="0" algn="l" defTabSz="12700" rtl="0" eaLnBrk="1" fontAlgn="auto" latinLnBrk="0" hangingPunct="0">
              <a:lnSpc>
                <a:spcPct val="110000"/>
              </a:lnSpc>
              <a:spcBef>
                <a:spcPts val="0"/>
              </a:spcBef>
              <a:spcAft>
                <a:spcPts val="0"/>
              </a:spcAft>
              <a:buClrTx/>
              <a:buSzTx/>
              <a:buFontTx/>
              <a:buNone/>
              <a:tabLst/>
              <a:defRPr sz="3600" b="1">
                <a:solidFill>
                  <a:srgbClr val="FFFFFF"/>
                </a:solidFill>
                <a:latin typeface="IBM Plex Sans"/>
                <a:ea typeface="IBM Plex Sans"/>
                <a:cs typeface="IBM Plex Sans"/>
                <a:sym typeface="IBM Plex Sans"/>
              </a:defRPr>
            </a:pPr>
            <a:r>
              <a:rPr kumimoji="0" sz="3600" b="1" i="0" u="none" strike="noStrike" kern="0" cap="none" spc="0" normalizeH="0" baseline="0" noProof="0">
                <a:ln>
                  <a:noFill/>
                </a:ln>
                <a:solidFill>
                  <a:srgbClr val="FFFFFF"/>
                </a:solidFill>
                <a:effectLst/>
                <a:uLnTx/>
                <a:uFillTx/>
                <a:latin typeface="IBM Plex Sans"/>
                <a:sym typeface="IBM Plex Sans"/>
              </a:rPr>
              <a:t>Manager of CSMs</a:t>
            </a:r>
          </a:p>
          <a:p>
            <a:pPr marL="0" marR="0" lvl="0" indent="0" algn="l" defTabSz="12700" rtl="0" eaLnBrk="1" fontAlgn="auto" latinLnBrk="0" hangingPunct="0">
              <a:lnSpc>
                <a:spcPct val="1100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Email</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Number</a:t>
            </a:r>
          </a:p>
        </p:txBody>
      </p:sp>
      <p:sp>
        <p:nvSpPr>
          <p:cNvPr id="2008" name="Star"/>
          <p:cNvSpPr/>
          <p:nvPr/>
        </p:nvSpPr>
        <p:spPr>
          <a:xfrm>
            <a:off x="19262729" y="343107"/>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009" name="Note to CSMer…"/>
          <p:cNvSpPr txBox="1"/>
          <p:nvPr/>
        </p:nvSpPr>
        <p:spPr>
          <a:xfrm>
            <a:off x="20068083" y="1766537"/>
            <a:ext cx="2574807" cy="1320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400" b="1" i="0" u="none" strike="noStrike" kern="0" cap="none" spc="0" normalizeH="0" baseline="0" noProof="0">
                <a:ln>
                  <a:noFill/>
                </a:ln>
                <a:solidFill>
                  <a:srgbClr val="FFFFFF"/>
                </a:solidFill>
                <a:effectLst/>
                <a:uLnTx/>
                <a:uFillTx/>
                <a:latin typeface="IBM Plex Sans"/>
                <a:sym typeface="IBM Plex Sans"/>
              </a:rPr>
              <a:t>Note to CSMer</a:t>
            </a:r>
            <a:endParaRPr kumimoji="0" sz="2400" b="0" i="0" u="none" strike="noStrike" kern="0" cap="none" spc="0" normalizeH="0" baseline="0" noProof="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400" b="0" i="0" u="none" strike="noStrike" kern="0" cap="none" spc="0" normalizeH="0" baseline="0" noProof="0">
                <a:ln>
                  <a:noFill/>
                </a:ln>
                <a:solidFill>
                  <a:srgbClr val="FFFFFF"/>
                </a:solidFill>
                <a:effectLst/>
                <a:uLnTx/>
                <a:uFillTx/>
                <a:latin typeface="IBM Plex Sans"/>
                <a:sym typeface="IBM Plex Sans"/>
              </a:rPr>
              <a:t>Fill these in for your client.</a:t>
            </a:r>
          </a:p>
        </p:txBody>
      </p:sp>
    </p:spTree>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a:extLst>
              <a:ext uri="{FF2B5EF4-FFF2-40B4-BE49-F238E27FC236}">
                <a16:creationId xmlns:a16="http://schemas.microsoft.com/office/drawing/2014/main" id="{03FD07D5-BD52-92F6-AAE4-E7FAE35DC025}"/>
              </a:ext>
            </a:extLst>
          </p:cNvPr>
          <p:cNvPicPr>
            <a:picLocks noChangeAspect="1"/>
          </p:cNvPicPr>
          <p:nvPr/>
        </p:nvPicPr>
        <p:blipFill>
          <a:blip r:embed="rId3"/>
          <a:stretch>
            <a:fillRect/>
          </a:stretch>
        </p:blipFill>
        <p:spPr>
          <a:xfrm>
            <a:off x="16780907" y="9203983"/>
            <a:ext cx="2581268" cy="2423391"/>
          </a:xfrm>
          <a:prstGeom prst="rect">
            <a:avLst/>
          </a:prstGeom>
          <a:solidFill>
            <a:srgbClr val="002060"/>
          </a:solidFill>
        </p:spPr>
      </p:pic>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4"/>
          <a:stretch>
            <a:fillRect/>
          </a:stretch>
        </p:blipFill>
        <p:spPr>
          <a:xfrm>
            <a:off x="19211455" y="164105"/>
            <a:ext cx="1460258" cy="1096702"/>
          </a:xfrm>
          <a:prstGeom prst="rect">
            <a:avLst/>
          </a:prstGeom>
        </p:spPr>
      </p:pic>
      <p:pic>
        <p:nvPicPr>
          <p:cNvPr id="38" name="Picture 37">
            <a:extLst>
              <a:ext uri="{FF2B5EF4-FFF2-40B4-BE49-F238E27FC236}">
                <a16:creationId xmlns:a16="http://schemas.microsoft.com/office/drawing/2014/main" id="{CB7037AA-E261-44F6-18C4-61642FB7AD39}"/>
              </a:ext>
            </a:extLst>
          </p:cNvPr>
          <p:cNvPicPr>
            <a:picLocks noChangeAspect="1"/>
          </p:cNvPicPr>
          <p:nvPr/>
        </p:nvPicPr>
        <p:blipFill>
          <a:blip r:embed="rId5"/>
          <a:stretch>
            <a:fillRect/>
          </a:stretch>
        </p:blipFill>
        <p:spPr>
          <a:xfrm>
            <a:off x="7925909" y="9636101"/>
            <a:ext cx="2730500" cy="862460"/>
          </a:xfrm>
          <a:prstGeom prst="rect">
            <a:avLst/>
          </a:prstGeom>
          <a:solidFill>
            <a:schemeClr val="bg1">
              <a:lumMod val="85000"/>
            </a:schemeClr>
          </a:solidFill>
        </p:spPr>
      </p:pic>
      <p:grpSp>
        <p:nvGrpSpPr>
          <p:cNvPr id="39" name="Group 38">
            <a:extLst>
              <a:ext uri="{FF2B5EF4-FFF2-40B4-BE49-F238E27FC236}">
                <a16:creationId xmlns:a16="http://schemas.microsoft.com/office/drawing/2014/main" id="{67BDE04B-1B69-E8ED-4A4F-59010E00C4D1}"/>
              </a:ext>
            </a:extLst>
          </p:cNvPr>
          <p:cNvGrpSpPr/>
          <p:nvPr/>
        </p:nvGrpSpPr>
        <p:grpSpPr>
          <a:xfrm>
            <a:off x="20094874" y="1852014"/>
            <a:ext cx="3332285" cy="3106526"/>
            <a:chOff x="12561781" y="-739616"/>
            <a:chExt cx="3332285" cy="3106526"/>
          </a:xfrm>
        </p:grpSpPr>
        <p:pic>
          <p:nvPicPr>
            <p:cNvPr id="40" name="Picture 39">
              <a:extLst>
                <a:ext uri="{FF2B5EF4-FFF2-40B4-BE49-F238E27FC236}">
                  <a16:creationId xmlns:a16="http://schemas.microsoft.com/office/drawing/2014/main" id="{754BE62B-BF78-53FD-DB24-57286C574566}"/>
                </a:ext>
              </a:extLst>
            </p:cNvPr>
            <p:cNvPicPr>
              <a:picLocks noChangeAspect="1"/>
            </p:cNvPicPr>
            <p:nvPr/>
          </p:nvPicPr>
          <p:blipFill>
            <a:blip r:embed="rId3"/>
            <a:stretch>
              <a:fillRect/>
            </a:stretch>
          </p:blipFill>
          <p:spPr>
            <a:xfrm>
              <a:off x="12561781" y="-739616"/>
              <a:ext cx="3332285" cy="3106526"/>
            </a:xfrm>
            <a:prstGeom prst="rect">
              <a:avLst/>
            </a:prstGeom>
            <a:solidFill>
              <a:schemeClr val="bg2">
                <a:lumMod val="10000"/>
              </a:schemeClr>
            </a:solidFill>
          </p:spPr>
        </p:pic>
        <p:sp>
          <p:nvSpPr>
            <p:cNvPr id="41" name="Oval 40">
              <a:extLst>
                <a:ext uri="{FF2B5EF4-FFF2-40B4-BE49-F238E27FC236}">
                  <a16:creationId xmlns:a16="http://schemas.microsoft.com/office/drawing/2014/main" id="{FEB5F1CB-5C06-3DAC-02C9-308E1CFA21C1}"/>
                </a:ext>
              </a:extLst>
            </p:cNvPr>
            <p:cNvSpPr/>
            <p:nvPr/>
          </p:nvSpPr>
          <p:spPr bwMode="auto">
            <a:xfrm>
              <a:off x="12828172" y="-355777"/>
              <a:ext cx="2799502" cy="2220107"/>
            </a:xfrm>
            <a:prstGeom prst="ellipse">
              <a:avLst/>
            </a:prstGeom>
            <a:solidFill>
              <a:schemeClr val="bg2">
                <a:lumMod val="1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grpSp>
      <p:pic>
        <p:nvPicPr>
          <p:cNvPr id="42" name="Picture 41">
            <a:extLst>
              <a:ext uri="{FF2B5EF4-FFF2-40B4-BE49-F238E27FC236}">
                <a16:creationId xmlns:a16="http://schemas.microsoft.com/office/drawing/2014/main" id="{CBC812CE-3296-6545-8BA7-EE8EB714B200}"/>
              </a:ext>
            </a:extLst>
          </p:cNvPr>
          <p:cNvPicPr>
            <a:picLocks noChangeAspect="1"/>
          </p:cNvPicPr>
          <p:nvPr/>
        </p:nvPicPr>
        <p:blipFill>
          <a:blip r:embed="rId6"/>
          <a:stretch>
            <a:fillRect/>
          </a:stretch>
        </p:blipFill>
        <p:spPr>
          <a:xfrm>
            <a:off x="20640008" y="2052438"/>
            <a:ext cx="2241880" cy="1077837"/>
          </a:xfrm>
          <a:prstGeom prst="rect">
            <a:avLst/>
          </a:prstGeom>
        </p:spPr>
      </p:pic>
      <p:pic>
        <p:nvPicPr>
          <p:cNvPr id="44" name="Picture 43">
            <a:extLst>
              <a:ext uri="{FF2B5EF4-FFF2-40B4-BE49-F238E27FC236}">
                <a16:creationId xmlns:a16="http://schemas.microsoft.com/office/drawing/2014/main" id="{F98EA5B4-8591-2A19-B473-F22BE6914ADB}"/>
              </a:ext>
            </a:extLst>
          </p:cNvPr>
          <p:cNvPicPr>
            <a:picLocks noChangeAspect="1"/>
          </p:cNvPicPr>
          <p:nvPr/>
        </p:nvPicPr>
        <p:blipFill>
          <a:blip r:embed="rId7"/>
          <a:stretch>
            <a:fillRect/>
          </a:stretch>
        </p:blipFill>
        <p:spPr>
          <a:xfrm>
            <a:off x="4256203" y="11137382"/>
            <a:ext cx="1447800" cy="1184968"/>
          </a:xfrm>
          <a:prstGeom prst="rect">
            <a:avLst/>
          </a:prstGeom>
        </p:spPr>
      </p:pic>
      <p:pic>
        <p:nvPicPr>
          <p:cNvPr id="45" name="Picture 44">
            <a:extLst>
              <a:ext uri="{FF2B5EF4-FFF2-40B4-BE49-F238E27FC236}">
                <a16:creationId xmlns:a16="http://schemas.microsoft.com/office/drawing/2014/main" id="{AF3E4B17-CDDF-BB47-57D2-331492366AEF}"/>
              </a:ext>
            </a:extLst>
          </p:cNvPr>
          <p:cNvPicPr>
            <a:picLocks noChangeAspect="1"/>
          </p:cNvPicPr>
          <p:nvPr/>
        </p:nvPicPr>
        <p:blipFill>
          <a:blip r:embed="rId8"/>
          <a:stretch>
            <a:fillRect/>
          </a:stretch>
        </p:blipFill>
        <p:spPr>
          <a:xfrm>
            <a:off x="4283982" y="9708805"/>
            <a:ext cx="1426852" cy="1348732"/>
          </a:xfrm>
          <a:prstGeom prst="rect">
            <a:avLst/>
          </a:prstGeom>
        </p:spPr>
      </p:pic>
      <p:pic>
        <p:nvPicPr>
          <p:cNvPr id="46" name="Picture 45">
            <a:extLst>
              <a:ext uri="{FF2B5EF4-FFF2-40B4-BE49-F238E27FC236}">
                <a16:creationId xmlns:a16="http://schemas.microsoft.com/office/drawing/2014/main" id="{898D0775-D12A-B49B-6CBE-782656CD14FF}"/>
              </a:ext>
            </a:extLst>
          </p:cNvPr>
          <p:cNvPicPr>
            <a:picLocks noChangeAspect="1"/>
          </p:cNvPicPr>
          <p:nvPr/>
        </p:nvPicPr>
        <p:blipFill>
          <a:blip r:embed="rId9"/>
          <a:stretch>
            <a:fillRect/>
          </a:stretch>
        </p:blipFill>
        <p:spPr>
          <a:xfrm>
            <a:off x="5814892" y="11137382"/>
            <a:ext cx="1511723" cy="1201080"/>
          </a:xfrm>
          <a:prstGeom prst="rect">
            <a:avLst/>
          </a:prstGeom>
        </p:spPr>
      </p:pic>
      <p:pic>
        <p:nvPicPr>
          <p:cNvPr id="47" name="Picture 46">
            <a:extLst>
              <a:ext uri="{FF2B5EF4-FFF2-40B4-BE49-F238E27FC236}">
                <a16:creationId xmlns:a16="http://schemas.microsoft.com/office/drawing/2014/main" id="{E4603B70-E5C7-12C9-659F-B750B97FDFD5}"/>
              </a:ext>
            </a:extLst>
          </p:cNvPr>
          <p:cNvPicPr>
            <a:picLocks noChangeAspect="1"/>
          </p:cNvPicPr>
          <p:nvPr/>
        </p:nvPicPr>
        <p:blipFill>
          <a:blip r:embed="rId10"/>
          <a:stretch>
            <a:fillRect/>
          </a:stretch>
        </p:blipFill>
        <p:spPr>
          <a:xfrm>
            <a:off x="5795083" y="9708805"/>
            <a:ext cx="1511724" cy="1341982"/>
          </a:xfrm>
          <a:prstGeom prst="rect">
            <a:avLst/>
          </a:prstGeom>
        </p:spPr>
      </p:pic>
      <p:sp>
        <p:nvSpPr>
          <p:cNvPr id="48" name="Right Arrow 47">
            <a:extLst>
              <a:ext uri="{FF2B5EF4-FFF2-40B4-BE49-F238E27FC236}">
                <a16:creationId xmlns:a16="http://schemas.microsoft.com/office/drawing/2014/main" id="{3233A557-AEC6-27CC-A0CA-97A60AD84737}"/>
              </a:ext>
            </a:extLst>
          </p:cNvPr>
          <p:cNvSpPr/>
          <p:nvPr/>
        </p:nvSpPr>
        <p:spPr bwMode="auto">
          <a:xfrm>
            <a:off x="548640" y="12677046"/>
            <a:ext cx="23105464" cy="469564"/>
          </a:xfrm>
          <a:prstGeom prst="rightArrow">
            <a:avLst/>
          </a:prstGeom>
          <a:solidFill>
            <a:schemeClr val="tx1">
              <a:lumMod val="75000"/>
            </a:schemeClr>
          </a:solidFill>
          <a:ln w="19050">
            <a:solidFill>
              <a:schemeClr val="accent1">
                <a:lumMod val="20000"/>
                <a:lumOff val="8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grpSp>
        <p:nvGrpSpPr>
          <p:cNvPr id="53" name="Group 52">
            <a:extLst>
              <a:ext uri="{FF2B5EF4-FFF2-40B4-BE49-F238E27FC236}">
                <a16:creationId xmlns:a16="http://schemas.microsoft.com/office/drawing/2014/main" id="{8C604B3E-949D-1D60-4A9E-75BB5FCD59AD}"/>
              </a:ext>
            </a:extLst>
          </p:cNvPr>
          <p:cNvGrpSpPr/>
          <p:nvPr/>
        </p:nvGrpSpPr>
        <p:grpSpPr>
          <a:xfrm>
            <a:off x="18744076" y="10401804"/>
            <a:ext cx="5809761" cy="2515358"/>
            <a:chOff x="5576711" y="936916"/>
            <a:chExt cx="2178660" cy="998128"/>
          </a:xfrm>
        </p:grpSpPr>
        <p:sp>
          <p:nvSpPr>
            <p:cNvPr id="54" name="Rectangle 53">
              <a:extLst>
                <a:ext uri="{FF2B5EF4-FFF2-40B4-BE49-F238E27FC236}">
                  <a16:creationId xmlns:a16="http://schemas.microsoft.com/office/drawing/2014/main" id="{68E38A52-C935-0187-5491-87B7443718EF}"/>
                </a:ext>
              </a:extLst>
            </p:cNvPr>
            <p:cNvSpPr/>
            <p:nvPr/>
          </p:nvSpPr>
          <p:spPr>
            <a:xfrm>
              <a:off x="5576711" y="1664110"/>
              <a:ext cx="1636475" cy="27093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chemeClr val="bg2">
                      <a:lumMod val="10000"/>
                    </a:schemeClr>
                  </a:solidFill>
                  <a:latin typeface="IBM Plex Sans" panose="020B0503050203000203" pitchFamily="34" charset="0"/>
                </a:rPr>
                <a:t>Support</a:t>
              </a:r>
            </a:p>
          </p:txBody>
        </p:sp>
        <p:cxnSp>
          <p:nvCxnSpPr>
            <p:cNvPr id="55" name="Straight Connector 54">
              <a:extLst>
                <a:ext uri="{FF2B5EF4-FFF2-40B4-BE49-F238E27FC236}">
                  <a16:creationId xmlns:a16="http://schemas.microsoft.com/office/drawing/2014/main" id="{73549889-0B22-32B7-12B9-A27B838AB2A4}"/>
                </a:ext>
              </a:extLst>
            </p:cNvPr>
            <p:cNvCxnSpPr/>
            <p:nvPr/>
          </p:nvCxnSpPr>
          <p:spPr>
            <a:xfrm>
              <a:off x="6118896" y="1871186"/>
              <a:ext cx="1636475" cy="0"/>
            </a:xfrm>
            <a:prstGeom prst="line">
              <a:avLst/>
            </a:prstGeom>
            <a:ln w="9525" cap="flat" cmpd="sng" algn="ctr">
              <a:solidFill>
                <a:srgbClr val="4589FF"/>
              </a:solidFill>
              <a:prstDash val="solid"/>
              <a:round/>
              <a:headEnd type="none" w="med" len="med"/>
              <a:tailEnd type="none" w="med" len="med"/>
            </a:ln>
          </p:spPr>
        </p:cxnSp>
        <p:grpSp>
          <p:nvGrpSpPr>
            <p:cNvPr id="56" name="Group 55">
              <a:extLst>
                <a:ext uri="{FF2B5EF4-FFF2-40B4-BE49-F238E27FC236}">
                  <a16:creationId xmlns:a16="http://schemas.microsoft.com/office/drawing/2014/main" id="{C23C1136-90B3-EE80-6943-2055E714DF9D}"/>
                </a:ext>
              </a:extLst>
            </p:cNvPr>
            <p:cNvGrpSpPr>
              <a:grpSpLocks noChangeAspect="1"/>
            </p:cNvGrpSpPr>
            <p:nvPr/>
          </p:nvGrpSpPr>
          <p:grpSpPr>
            <a:xfrm>
              <a:off x="5773177" y="936916"/>
              <a:ext cx="1002252" cy="980295"/>
              <a:chOff x="5236803" y="2611438"/>
              <a:chExt cx="1683110" cy="1646237"/>
            </a:xfrm>
          </p:grpSpPr>
          <p:sp>
            <p:nvSpPr>
              <p:cNvPr id="57" name="AutoShape 3">
                <a:extLst>
                  <a:ext uri="{FF2B5EF4-FFF2-40B4-BE49-F238E27FC236}">
                    <a16:creationId xmlns:a16="http://schemas.microsoft.com/office/drawing/2014/main" id="{3E72262C-AA65-B970-FBC9-CA1B9E15A660}"/>
                  </a:ext>
                </a:extLst>
              </p:cNvPr>
              <p:cNvSpPr>
                <a:spLocks noChangeAspect="1" noChangeArrowheads="1" noTextEdit="1"/>
              </p:cNvSpPr>
              <p:nvPr/>
            </p:nvSpPr>
            <p:spPr bwMode="auto">
              <a:xfrm>
                <a:off x="5273675" y="2611438"/>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sp>
            <p:nvSpPr>
              <p:cNvPr id="58" name="Freeform 7">
                <a:extLst>
                  <a:ext uri="{FF2B5EF4-FFF2-40B4-BE49-F238E27FC236}">
                    <a16:creationId xmlns:a16="http://schemas.microsoft.com/office/drawing/2014/main" id="{FFB0047F-5B73-9558-9D25-974552F66CA4}"/>
                  </a:ext>
                </a:extLst>
              </p:cNvPr>
              <p:cNvSpPr>
                <a:spLocks/>
              </p:cNvSpPr>
              <p:nvPr/>
            </p:nvSpPr>
            <p:spPr bwMode="auto">
              <a:xfrm>
                <a:off x="5236803" y="3060603"/>
                <a:ext cx="919037" cy="854159"/>
              </a:xfrm>
              <a:custGeom>
                <a:avLst/>
                <a:gdLst>
                  <a:gd name="connsiteX0" fmla="*/ 434470 w 1285344"/>
                  <a:gd name="connsiteY0" fmla="*/ 973136 h 1266823"/>
                  <a:gd name="connsiteX1" fmla="*/ 638744 w 1285344"/>
                  <a:gd name="connsiteY1" fmla="*/ 1139630 h 1266823"/>
                  <a:gd name="connsiteX2" fmla="*/ 647315 w 1285344"/>
                  <a:gd name="connsiteY2" fmla="*/ 1139630 h 1266823"/>
                  <a:gd name="connsiteX3" fmla="*/ 851588 w 1285344"/>
                  <a:gd name="connsiteY3" fmla="*/ 973136 h 1266823"/>
                  <a:gd name="connsiteX4" fmla="*/ 1128715 w 1285344"/>
                  <a:gd name="connsiteY4" fmla="*/ 1019583 h 1266823"/>
                  <a:gd name="connsiteX5" fmla="*/ 1284420 w 1285344"/>
                  <a:gd name="connsiteY5" fmla="*/ 1245386 h 1266823"/>
                  <a:gd name="connsiteX6" fmla="*/ 1269421 w 1285344"/>
                  <a:gd name="connsiteY6" fmla="*/ 1266823 h 1266823"/>
                  <a:gd name="connsiteX7" fmla="*/ 15923 w 1285344"/>
                  <a:gd name="connsiteY7" fmla="*/ 1266823 h 1266823"/>
                  <a:gd name="connsiteX8" fmla="*/ 924 w 1285344"/>
                  <a:gd name="connsiteY8" fmla="*/ 1245386 h 1266823"/>
                  <a:gd name="connsiteX9" fmla="*/ 157343 w 1285344"/>
                  <a:gd name="connsiteY9" fmla="*/ 1019583 h 1266823"/>
                  <a:gd name="connsiteX10" fmla="*/ 434470 w 1285344"/>
                  <a:gd name="connsiteY10" fmla="*/ 973136 h 1266823"/>
                  <a:gd name="connsiteX11" fmla="*/ 643132 w 1285344"/>
                  <a:gd name="connsiteY11" fmla="*/ 69849 h 1266823"/>
                  <a:gd name="connsiteX12" fmla="*/ 979349 w 1285344"/>
                  <a:gd name="connsiteY12" fmla="*/ 410239 h 1266823"/>
                  <a:gd name="connsiteX13" fmla="*/ 978634 w 1285344"/>
                  <a:gd name="connsiteY13" fmla="*/ 474464 h 1266823"/>
                  <a:gd name="connsiteX14" fmla="*/ 1002240 w 1285344"/>
                  <a:gd name="connsiteY14" fmla="*/ 547965 h 1266823"/>
                  <a:gd name="connsiteX15" fmla="*/ 979349 w 1285344"/>
                  <a:gd name="connsiteY15" fmla="*/ 561524 h 1266823"/>
                  <a:gd name="connsiteX16" fmla="*/ 950735 w 1285344"/>
                  <a:gd name="connsiteY16" fmla="*/ 575082 h 1266823"/>
                  <a:gd name="connsiteX17" fmla="*/ 899229 w 1285344"/>
                  <a:gd name="connsiteY17" fmla="*/ 577936 h 1266823"/>
                  <a:gd name="connsiteX18" fmla="*/ 490046 w 1285344"/>
                  <a:gd name="connsiteY18" fmla="*/ 336738 h 1266823"/>
                  <a:gd name="connsiteX19" fmla="*/ 457140 w 1285344"/>
                  <a:gd name="connsiteY19" fmla="*/ 355291 h 1266823"/>
                  <a:gd name="connsiteX20" fmla="*/ 325514 w 1285344"/>
                  <a:gd name="connsiteY20" fmla="*/ 550106 h 1266823"/>
                  <a:gd name="connsiteX21" fmla="*/ 306915 w 1285344"/>
                  <a:gd name="connsiteY21" fmla="*/ 410239 h 1266823"/>
                  <a:gd name="connsiteX22" fmla="*/ 643132 w 1285344"/>
                  <a:gd name="connsiteY22" fmla="*/ 69849 h 1266823"/>
                  <a:gd name="connsiteX23" fmla="*/ 644260 w 1285344"/>
                  <a:gd name="connsiteY23" fmla="*/ 0 h 1266823"/>
                  <a:gd name="connsiteX24" fmla="*/ 1039440 w 1285344"/>
                  <a:gd name="connsiteY24" fmla="*/ 341858 h 1266823"/>
                  <a:gd name="connsiteX25" fmla="*/ 1057273 w 1285344"/>
                  <a:gd name="connsiteY25" fmla="*/ 341858 h 1266823"/>
                  <a:gd name="connsiteX26" fmla="*/ 1073679 w 1285344"/>
                  <a:gd name="connsiteY26" fmla="*/ 358307 h 1266823"/>
                  <a:gd name="connsiteX27" fmla="*/ 1073679 w 1285344"/>
                  <a:gd name="connsiteY27" fmla="*/ 577153 h 1266823"/>
                  <a:gd name="connsiteX28" fmla="*/ 1057273 w 1285344"/>
                  <a:gd name="connsiteY28" fmla="*/ 593602 h 1266823"/>
                  <a:gd name="connsiteX29" fmla="*/ 1028740 w 1285344"/>
                  <a:gd name="connsiteY29" fmla="*/ 593602 h 1266823"/>
                  <a:gd name="connsiteX30" fmla="*/ 1014474 w 1285344"/>
                  <a:gd name="connsiteY30" fmla="*/ 585020 h 1266823"/>
                  <a:gd name="connsiteX31" fmla="*/ 1012334 w 1285344"/>
                  <a:gd name="connsiteY31" fmla="*/ 577153 h 1266823"/>
                  <a:gd name="connsiteX32" fmla="*/ 1012334 w 1285344"/>
                  <a:gd name="connsiteY32" fmla="*/ 388345 h 1266823"/>
                  <a:gd name="connsiteX33" fmla="*/ 644260 w 1285344"/>
                  <a:gd name="connsiteY33" fmla="*/ 32899 h 1266823"/>
                  <a:gd name="connsiteX34" fmla="*/ 276187 w 1285344"/>
                  <a:gd name="connsiteY34" fmla="*/ 388345 h 1266823"/>
                  <a:gd name="connsiteX35" fmla="*/ 274760 w 1285344"/>
                  <a:gd name="connsiteY35" fmla="*/ 420528 h 1266823"/>
                  <a:gd name="connsiteX36" fmla="*/ 276187 w 1285344"/>
                  <a:gd name="connsiteY36" fmla="*/ 451996 h 1266823"/>
                  <a:gd name="connsiteX37" fmla="*/ 309713 w 1285344"/>
                  <a:gd name="connsiteY37" fmla="*/ 584305 h 1266823"/>
                  <a:gd name="connsiteX38" fmla="*/ 411718 w 1285344"/>
                  <a:gd name="connsiteY38" fmla="*/ 721620 h 1266823"/>
                  <a:gd name="connsiteX39" fmla="*/ 579348 w 1285344"/>
                  <a:gd name="connsiteY39" fmla="*/ 802436 h 1266823"/>
                  <a:gd name="connsiteX40" fmla="*/ 644260 w 1285344"/>
                  <a:gd name="connsiteY40" fmla="*/ 770968 h 1266823"/>
                  <a:gd name="connsiteX41" fmla="*/ 709172 w 1285344"/>
                  <a:gd name="connsiteY41" fmla="*/ 802436 h 1266823"/>
                  <a:gd name="connsiteX42" fmla="*/ 714166 w 1285344"/>
                  <a:gd name="connsiteY42" fmla="*/ 820316 h 1266823"/>
                  <a:gd name="connsiteX43" fmla="*/ 710599 w 1285344"/>
                  <a:gd name="connsiteY43" fmla="*/ 835334 h 1266823"/>
                  <a:gd name="connsiteX44" fmla="*/ 644260 w 1285344"/>
                  <a:gd name="connsiteY44" fmla="*/ 869663 h 1266823"/>
                  <a:gd name="connsiteX45" fmla="*/ 577921 w 1285344"/>
                  <a:gd name="connsiteY45" fmla="*/ 835334 h 1266823"/>
                  <a:gd name="connsiteX46" fmla="*/ 438824 w 1285344"/>
                  <a:gd name="connsiteY46" fmla="*/ 781696 h 1266823"/>
                  <a:gd name="connsiteX47" fmla="*/ 483050 w 1285344"/>
                  <a:gd name="connsiteY47" fmla="*/ 861081 h 1266823"/>
                  <a:gd name="connsiteX48" fmla="*/ 644260 w 1285344"/>
                  <a:gd name="connsiteY48" fmla="*/ 941897 h 1266823"/>
                  <a:gd name="connsiteX49" fmla="*/ 805471 w 1285344"/>
                  <a:gd name="connsiteY49" fmla="*/ 861081 h 1266823"/>
                  <a:gd name="connsiteX50" fmla="*/ 908189 w 1285344"/>
                  <a:gd name="connsiteY50" fmla="*/ 645096 h 1266823"/>
                  <a:gd name="connsiteX51" fmla="*/ 915322 w 1285344"/>
                  <a:gd name="connsiteY51" fmla="*/ 637229 h 1266823"/>
                  <a:gd name="connsiteX52" fmla="*/ 947421 w 1285344"/>
                  <a:gd name="connsiteY52" fmla="*/ 600754 h 1266823"/>
                  <a:gd name="connsiteX53" fmla="*/ 984514 w 1285344"/>
                  <a:gd name="connsiteY53" fmla="*/ 582875 h 1266823"/>
                  <a:gd name="connsiteX54" fmla="*/ 984514 w 1285344"/>
                  <a:gd name="connsiteY54" fmla="*/ 583590 h 1266823"/>
                  <a:gd name="connsiteX55" fmla="*/ 935295 w 1285344"/>
                  <a:gd name="connsiteY55" fmla="*/ 662260 h 1266823"/>
                  <a:gd name="connsiteX56" fmla="*/ 832577 w 1285344"/>
                  <a:gd name="connsiteY56" fmla="*/ 878245 h 1266823"/>
                  <a:gd name="connsiteX57" fmla="*/ 832577 w 1285344"/>
                  <a:gd name="connsiteY57" fmla="*/ 947618 h 1266823"/>
                  <a:gd name="connsiteX58" fmla="*/ 827584 w 1285344"/>
                  <a:gd name="connsiteY58" fmla="*/ 954770 h 1266823"/>
                  <a:gd name="connsiteX59" fmla="*/ 801191 w 1285344"/>
                  <a:gd name="connsiteY59" fmla="*/ 982662 h 1266823"/>
                  <a:gd name="connsiteX60" fmla="*/ 801191 w 1285344"/>
                  <a:gd name="connsiteY60" fmla="*/ 904707 h 1266823"/>
                  <a:gd name="connsiteX61" fmla="*/ 644260 w 1285344"/>
                  <a:gd name="connsiteY61" fmla="*/ 973365 h 1266823"/>
                  <a:gd name="connsiteX62" fmla="*/ 487330 w 1285344"/>
                  <a:gd name="connsiteY62" fmla="*/ 904707 h 1266823"/>
                  <a:gd name="connsiteX63" fmla="*/ 487330 w 1285344"/>
                  <a:gd name="connsiteY63" fmla="*/ 982662 h 1266823"/>
                  <a:gd name="connsiteX64" fmla="*/ 460937 w 1285344"/>
                  <a:gd name="connsiteY64" fmla="*/ 954770 h 1266823"/>
                  <a:gd name="connsiteX65" fmla="*/ 455944 w 1285344"/>
                  <a:gd name="connsiteY65" fmla="*/ 947618 h 1266823"/>
                  <a:gd name="connsiteX66" fmla="*/ 455944 w 1285344"/>
                  <a:gd name="connsiteY66" fmla="*/ 878245 h 1266823"/>
                  <a:gd name="connsiteX67" fmla="*/ 386752 w 1285344"/>
                  <a:gd name="connsiteY67" fmla="*/ 743076 h 1266823"/>
                  <a:gd name="connsiteX68" fmla="*/ 274047 w 1285344"/>
                  <a:gd name="connsiteY68" fmla="*/ 585020 h 1266823"/>
                  <a:gd name="connsiteX69" fmla="*/ 259780 w 1285344"/>
                  <a:gd name="connsiteY69" fmla="*/ 593602 h 1266823"/>
                  <a:gd name="connsiteX70" fmla="*/ 231248 w 1285344"/>
                  <a:gd name="connsiteY70" fmla="*/ 593602 h 1266823"/>
                  <a:gd name="connsiteX71" fmla="*/ 214841 w 1285344"/>
                  <a:gd name="connsiteY71" fmla="*/ 577153 h 1266823"/>
                  <a:gd name="connsiteX72" fmla="*/ 214841 w 1285344"/>
                  <a:gd name="connsiteY72" fmla="*/ 358307 h 1266823"/>
                  <a:gd name="connsiteX73" fmla="*/ 231248 w 1285344"/>
                  <a:gd name="connsiteY73" fmla="*/ 341858 h 1266823"/>
                  <a:gd name="connsiteX74" fmla="*/ 249081 w 1285344"/>
                  <a:gd name="connsiteY74" fmla="*/ 341858 h 1266823"/>
                  <a:gd name="connsiteX75" fmla="*/ 644260 w 1285344"/>
                  <a:gd name="connsiteY75" fmla="*/ 0 h 126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285344" h="1266823">
                    <a:moveTo>
                      <a:pt x="434470" y="973136"/>
                    </a:moveTo>
                    <a:cubicBezTo>
                      <a:pt x="434470" y="973136"/>
                      <a:pt x="573033" y="1087467"/>
                      <a:pt x="638744" y="1139630"/>
                    </a:cubicBezTo>
                    <a:cubicBezTo>
                      <a:pt x="641601" y="1141774"/>
                      <a:pt x="645172" y="1141774"/>
                      <a:pt x="647315" y="1139630"/>
                    </a:cubicBezTo>
                    <a:cubicBezTo>
                      <a:pt x="736595" y="1068174"/>
                      <a:pt x="851588" y="973136"/>
                      <a:pt x="851588" y="973136"/>
                    </a:cubicBezTo>
                    <a:cubicBezTo>
                      <a:pt x="851588" y="973136"/>
                      <a:pt x="1031578" y="975280"/>
                      <a:pt x="1128715" y="1019583"/>
                    </a:cubicBezTo>
                    <a:cubicBezTo>
                      <a:pt x="1207282" y="1055311"/>
                      <a:pt x="1264421" y="1193223"/>
                      <a:pt x="1284420" y="1245386"/>
                    </a:cubicBezTo>
                    <a:cubicBezTo>
                      <a:pt x="1287991" y="1256105"/>
                      <a:pt x="1280849" y="1266823"/>
                      <a:pt x="1269421" y="1266823"/>
                    </a:cubicBezTo>
                    <a:cubicBezTo>
                      <a:pt x="1269421" y="1266823"/>
                      <a:pt x="1269421" y="1266823"/>
                      <a:pt x="15923" y="1266823"/>
                    </a:cubicBezTo>
                    <a:cubicBezTo>
                      <a:pt x="4495" y="1266823"/>
                      <a:pt x="-2647" y="1256105"/>
                      <a:pt x="924" y="1245386"/>
                    </a:cubicBezTo>
                    <a:cubicBezTo>
                      <a:pt x="20923" y="1193223"/>
                      <a:pt x="78777" y="1055311"/>
                      <a:pt x="157343" y="1019583"/>
                    </a:cubicBezTo>
                    <a:cubicBezTo>
                      <a:pt x="254480" y="975280"/>
                      <a:pt x="434470" y="973136"/>
                      <a:pt x="434470" y="973136"/>
                    </a:cubicBezTo>
                    <a:close/>
                    <a:moveTo>
                      <a:pt x="643132" y="69849"/>
                    </a:moveTo>
                    <a:cubicBezTo>
                      <a:pt x="833416" y="69849"/>
                      <a:pt x="979349" y="221847"/>
                      <a:pt x="979349" y="410239"/>
                    </a:cubicBezTo>
                    <a:cubicBezTo>
                      <a:pt x="979349" y="432361"/>
                      <a:pt x="980064" y="453055"/>
                      <a:pt x="978634" y="474464"/>
                    </a:cubicBezTo>
                    <a:cubicBezTo>
                      <a:pt x="977203" y="492304"/>
                      <a:pt x="982926" y="520134"/>
                      <a:pt x="1002240" y="547965"/>
                    </a:cubicBezTo>
                    <a:cubicBezTo>
                      <a:pt x="1002240" y="547965"/>
                      <a:pt x="992941" y="554387"/>
                      <a:pt x="979349" y="561524"/>
                    </a:cubicBezTo>
                    <a:cubicBezTo>
                      <a:pt x="970765" y="566519"/>
                      <a:pt x="960750" y="571514"/>
                      <a:pt x="950735" y="575082"/>
                    </a:cubicBezTo>
                    <a:cubicBezTo>
                      <a:pt x="932135" y="582218"/>
                      <a:pt x="912821" y="585786"/>
                      <a:pt x="899229" y="577936"/>
                    </a:cubicBezTo>
                    <a:cubicBezTo>
                      <a:pt x="861315" y="557242"/>
                      <a:pt x="700360" y="336738"/>
                      <a:pt x="490046" y="336738"/>
                    </a:cubicBezTo>
                    <a:cubicBezTo>
                      <a:pt x="490046" y="336738"/>
                      <a:pt x="467870" y="349583"/>
                      <a:pt x="457140" y="355291"/>
                    </a:cubicBezTo>
                    <a:cubicBezTo>
                      <a:pt x="362713" y="420230"/>
                      <a:pt x="358421" y="580077"/>
                      <a:pt x="325514" y="550106"/>
                    </a:cubicBezTo>
                    <a:cubicBezTo>
                      <a:pt x="313353" y="535120"/>
                      <a:pt x="306915" y="451628"/>
                      <a:pt x="306915" y="410239"/>
                    </a:cubicBezTo>
                    <a:cubicBezTo>
                      <a:pt x="306915" y="221847"/>
                      <a:pt x="452848" y="69849"/>
                      <a:pt x="643132" y="69849"/>
                    </a:cubicBezTo>
                    <a:close/>
                    <a:moveTo>
                      <a:pt x="644260" y="0"/>
                    </a:moveTo>
                    <a:cubicBezTo>
                      <a:pt x="840423" y="0"/>
                      <a:pt x="1003774" y="147328"/>
                      <a:pt x="1039440" y="341858"/>
                    </a:cubicBezTo>
                    <a:cubicBezTo>
                      <a:pt x="1057273" y="341858"/>
                      <a:pt x="1057273" y="341858"/>
                      <a:pt x="1057273" y="341858"/>
                    </a:cubicBezTo>
                    <a:cubicBezTo>
                      <a:pt x="1065833" y="341858"/>
                      <a:pt x="1073679" y="349010"/>
                      <a:pt x="1073679" y="358307"/>
                    </a:cubicBezTo>
                    <a:cubicBezTo>
                      <a:pt x="1073679" y="577153"/>
                      <a:pt x="1073679" y="577153"/>
                      <a:pt x="1073679" y="577153"/>
                    </a:cubicBezTo>
                    <a:cubicBezTo>
                      <a:pt x="1073679" y="585735"/>
                      <a:pt x="1065833" y="593602"/>
                      <a:pt x="1057273" y="593602"/>
                    </a:cubicBezTo>
                    <a:cubicBezTo>
                      <a:pt x="1028740" y="593602"/>
                      <a:pt x="1028740" y="593602"/>
                      <a:pt x="1028740" y="593602"/>
                    </a:cubicBezTo>
                    <a:cubicBezTo>
                      <a:pt x="1022320" y="593602"/>
                      <a:pt x="1017327" y="590026"/>
                      <a:pt x="1014474" y="585020"/>
                    </a:cubicBezTo>
                    <a:cubicBezTo>
                      <a:pt x="1013047" y="582159"/>
                      <a:pt x="1012334" y="580014"/>
                      <a:pt x="1012334" y="577153"/>
                    </a:cubicBezTo>
                    <a:cubicBezTo>
                      <a:pt x="1012334" y="577153"/>
                      <a:pt x="1013047" y="399072"/>
                      <a:pt x="1012334" y="388345"/>
                    </a:cubicBezTo>
                    <a:cubicBezTo>
                      <a:pt x="996641" y="189524"/>
                      <a:pt x="837570" y="32899"/>
                      <a:pt x="644260" y="32899"/>
                    </a:cubicBezTo>
                    <a:cubicBezTo>
                      <a:pt x="450950" y="32899"/>
                      <a:pt x="291880" y="189524"/>
                      <a:pt x="276187" y="388345"/>
                    </a:cubicBezTo>
                    <a:cubicBezTo>
                      <a:pt x="275473" y="399072"/>
                      <a:pt x="274760" y="409800"/>
                      <a:pt x="274760" y="420528"/>
                    </a:cubicBezTo>
                    <a:cubicBezTo>
                      <a:pt x="274760" y="431256"/>
                      <a:pt x="275473" y="441983"/>
                      <a:pt x="276187" y="451996"/>
                    </a:cubicBezTo>
                    <a:cubicBezTo>
                      <a:pt x="279753" y="499198"/>
                      <a:pt x="291880" y="543540"/>
                      <a:pt x="309713" y="584305"/>
                    </a:cubicBezTo>
                    <a:cubicBezTo>
                      <a:pt x="333252" y="637944"/>
                      <a:pt x="368918" y="684431"/>
                      <a:pt x="411718" y="721620"/>
                    </a:cubicBezTo>
                    <a:cubicBezTo>
                      <a:pt x="459510" y="762386"/>
                      <a:pt x="516576" y="790278"/>
                      <a:pt x="579348" y="802436"/>
                    </a:cubicBezTo>
                    <a:cubicBezTo>
                      <a:pt x="589335" y="783841"/>
                      <a:pt x="614301" y="770968"/>
                      <a:pt x="644260" y="770968"/>
                    </a:cubicBezTo>
                    <a:cubicBezTo>
                      <a:pt x="674220" y="770968"/>
                      <a:pt x="699186" y="783841"/>
                      <a:pt x="709172" y="802436"/>
                    </a:cubicBezTo>
                    <a:cubicBezTo>
                      <a:pt x="712739" y="808157"/>
                      <a:pt x="714166" y="813879"/>
                      <a:pt x="714166" y="820316"/>
                    </a:cubicBezTo>
                    <a:cubicBezTo>
                      <a:pt x="714166" y="825322"/>
                      <a:pt x="712739" y="830328"/>
                      <a:pt x="710599" y="835334"/>
                    </a:cubicBezTo>
                    <a:cubicBezTo>
                      <a:pt x="702039" y="855360"/>
                      <a:pt x="675646" y="869663"/>
                      <a:pt x="644260" y="869663"/>
                    </a:cubicBezTo>
                    <a:cubicBezTo>
                      <a:pt x="612874" y="869663"/>
                      <a:pt x="586481" y="855360"/>
                      <a:pt x="577921" y="835334"/>
                    </a:cubicBezTo>
                    <a:cubicBezTo>
                      <a:pt x="527989" y="826752"/>
                      <a:pt x="480910" y="808157"/>
                      <a:pt x="438824" y="781696"/>
                    </a:cubicBezTo>
                    <a:cubicBezTo>
                      <a:pt x="456657" y="821031"/>
                      <a:pt x="473777" y="852499"/>
                      <a:pt x="483050" y="861081"/>
                    </a:cubicBezTo>
                    <a:cubicBezTo>
                      <a:pt x="515149" y="889688"/>
                      <a:pt x="597894" y="941897"/>
                      <a:pt x="644260" y="941897"/>
                    </a:cubicBezTo>
                    <a:cubicBezTo>
                      <a:pt x="690626" y="941897"/>
                      <a:pt x="773371" y="889688"/>
                      <a:pt x="805471" y="861081"/>
                    </a:cubicBezTo>
                    <a:cubicBezTo>
                      <a:pt x="825444" y="843201"/>
                      <a:pt x="878943" y="718759"/>
                      <a:pt x="908189" y="645096"/>
                    </a:cubicBezTo>
                    <a:cubicBezTo>
                      <a:pt x="908902" y="641520"/>
                      <a:pt x="911755" y="638659"/>
                      <a:pt x="915322" y="637229"/>
                    </a:cubicBezTo>
                    <a:cubicBezTo>
                      <a:pt x="932442" y="628646"/>
                      <a:pt x="942428" y="613628"/>
                      <a:pt x="947421" y="600754"/>
                    </a:cubicBezTo>
                    <a:cubicBezTo>
                      <a:pt x="947421" y="600754"/>
                      <a:pt x="947421" y="600754"/>
                      <a:pt x="984514" y="582875"/>
                    </a:cubicBezTo>
                    <a:cubicBezTo>
                      <a:pt x="984514" y="583590"/>
                      <a:pt x="984514" y="583590"/>
                      <a:pt x="984514" y="583590"/>
                    </a:cubicBezTo>
                    <a:cubicBezTo>
                      <a:pt x="982374" y="600039"/>
                      <a:pt x="972388" y="640089"/>
                      <a:pt x="935295" y="662260"/>
                    </a:cubicBezTo>
                    <a:cubicBezTo>
                      <a:pt x="919602" y="701595"/>
                      <a:pt x="864676" y="838195"/>
                      <a:pt x="832577" y="878245"/>
                    </a:cubicBezTo>
                    <a:cubicBezTo>
                      <a:pt x="832577" y="947618"/>
                      <a:pt x="832577" y="947618"/>
                      <a:pt x="832577" y="947618"/>
                    </a:cubicBezTo>
                    <a:cubicBezTo>
                      <a:pt x="827584" y="954770"/>
                      <a:pt x="827584" y="954770"/>
                      <a:pt x="827584" y="954770"/>
                    </a:cubicBezTo>
                    <a:cubicBezTo>
                      <a:pt x="826157" y="956200"/>
                      <a:pt x="817597" y="967643"/>
                      <a:pt x="801191" y="982662"/>
                    </a:cubicBezTo>
                    <a:cubicBezTo>
                      <a:pt x="801191" y="904707"/>
                      <a:pt x="801191" y="904707"/>
                      <a:pt x="801191" y="904707"/>
                    </a:cubicBezTo>
                    <a:cubicBezTo>
                      <a:pt x="759105" y="935460"/>
                      <a:pt x="690626" y="973365"/>
                      <a:pt x="644260" y="973365"/>
                    </a:cubicBezTo>
                    <a:cubicBezTo>
                      <a:pt x="597894" y="973365"/>
                      <a:pt x="529416" y="935460"/>
                      <a:pt x="487330" y="904707"/>
                    </a:cubicBezTo>
                    <a:cubicBezTo>
                      <a:pt x="487330" y="982662"/>
                      <a:pt x="487330" y="982662"/>
                      <a:pt x="487330" y="982662"/>
                    </a:cubicBezTo>
                    <a:cubicBezTo>
                      <a:pt x="470923" y="967643"/>
                      <a:pt x="462363" y="956200"/>
                      <a:pt x="460937" y="954770"/>
                    </a:cubicBezTo>
                    <a:cubicBezTo>
                      <a:pt x="455944" y="947618"/>
                      <a:pt x="455944" y="947618"/>
                      <a:pt x="455944" y="947618"/>
                    </a:cubicBezTo>
                    <a:cubicBezTo>
                      <a:pt x="455944" y="878245"/>
                      <a:pt x="455944" y="878245"/>
                      <a:pt x="455944" y="878245"/>
                    </a:cubicBezTo>
                    <a:cubicBezTo>
                      <a:pt x="436684" y="853929"/>
                      <a:pt x="408864" y="795284"/>
                      <a:pt x="386752" y="743076"/>
                    </a:cubicBezTo>
                    <a:cubicBezTo>
                      <a:pt x="338246" y="700880"/>
                      <a:pt x="299726" y="646526"/>
                      <a:pt x="274047" y="585020"/>
                    </a:cubicBezTo>
                    <a:cubicBezTo>
                      <a:pt x="271194" y="590026"/>
                      <a:pt x="266200" y="593602"/>
                      <a:pt x="259780" y="593602"/>
                    </a:cubicBezTo>
                    <a:cubicBezTo>
                      <a:pt x="231248" y="593602"/>
                      <a:pt x="231248" y="593602"/>
                      <a:pt x="231248" y="593602"/>
                    </a:cubicBezTo>
                    <a:cubicBezTo>
                      <a:pt x="222688" y="593602"/>
                      <a:pt x="214841" y="585735"/>
                      <a:pt x="214841" y="577153"/>
                    </a:cubicBezTo>
                    <a:cubicBezTo>
                      <a:pt x="214841" y="358307"/>
                      <a:pt x="214841" y="358307"/>
                      <a:pt x="214841" y="358307"/>
                    </a:cubicBezTo>
                    <a:cubicBezTo>
                      <a:pt x="214841" y="349010"/>
                      <a:pt x="222688" y="341858"/>
                      <a:pt x="231248" y="341858"/>
                    </a:cubicBezTo>
                    <a:cubicBezTo>
                      <a:pt x="249081" y="341858"/>
                      <a:pt x="249081" y="341858"/>
                      <a:pt x="249081" y="341858"/>
                    </a:cubicBezTo>
                    <a:cubicBezTo>
                      <a:pt x="284747" y="147328"/>
                      <a:pt x="448097" y="0"/>
                      <a:pt x="644260" y="0"/>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grpSp>
      </p:grpSp>
      <p:grpSp>
        <p:nvGrpSpPr>
          <p:cNvPr id="59" name="Group 58">
            <a:extLst>
              <a:ext uri="{FF2B5EF4-FFF2-40B4-BE49-F238E27FC236}">
                <a16:creationId xmlns:a16="http://schemas.microsoft.com/office/drawing/2014/main" id="{1B13B67C-2211-14C4-8FB5-0200D11C2643}"/>
              </a:ext>
            </a:extLst>
          </p:cNvPr>
          <p:cNvGrpSpPr/>
          <p:nvPr/>
        </p:nvGrpSpPr>
        <p:grpSpPr>
          <a:xfrm>
            <a:off x="12250550" y="7777821"/>
            <a:ext cx="4632597" cy="2650536"/>
            <a:chOff x="3454809" y="936916"/>
            <a:chExt cx="2165105" cy="1295631"/>
          </a:xfrm>
        </p:grpSpPr>
        <p:sp>
          <p:nvSpPr>
            <p:cNvPr id="60" name="Rectangle 59">
              <a:extLst>
                <a:ext uri="{FF2B5EF4-FFF2-40B4-BE49-F238E27FC236}">
                  <a16:creationId xmlns:a16="http://schemas.microsoft.com/office/drawing/2014/main" id="{20C3B37A-E828-DC5D-7F61-97C99DAD9B47}"/>
                </a:ext>
              </a:extLst>
            </p:cNvPr>
            <p:cNvSpPr/>
            <p:nvPr/>
          </p:nvSpPr>
          <p:spPr>
            <a:xfrm>
              <a:off x="3454809" y="1925890"/>
              <a:ext cx="2165105" cy="2191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chemeClr val="bg2">
                      <a:lumMod val="10000"/>
                    </a:schemeClr>
                  </a:solidFill>
                  <a:latin typeface="IBM Plex Sans" panose="020B0503050203000203" pitchFamily="34" charset="0"/>
                </a:rPr>
                <a:t>Expert Labs</a:t>
              </a:r>
            </a:p>
            <a:p>
              <a:pPr defTabSz="1828754" hangingPunct="1">
                <a:defRPr/>
              </a:pPr>
              <a:r>
                <a:rPr lang="en-US" kern="1200" dirty="0">
                  <a:solidFill>
                    <a:schemeClr val="bg2">
                      <a:lumMod val="10000"/>
                    </a:schemeClr>
                  </a:solidFill>
                  <a:latin typeface="IBM Plex Sans" panose="020B0503050203000203" pitchFamily="34" charset="0"/>
                </a:rPr>
                <a:t>Deployment Architects</a:t>
              </a:r>
            </a:p>
          </p:txBody>
        </p:sp>
        <p:cxnSp>
          <p:nvCxnSpPr>
            <p:cNvPr id="61" name="Straight Connector 60">
              <a:extLst>
                <a:ext uri="{FF2B5EF4-FFF2-40B4-BE49-F238E27FC236}">
                  <a16:creationId xmlns:a16="http://schemas.microsoft.com/office/drawing/2014/main" id="{9C88FC32-C5C9-DC67-0735-E9A28EDD51DA}"/>
                </a:ext>
              </a:extLst>
            </p:cNvPr>
            <p:cNvCxnSpPr/>
            <p:nvPr/>
          </p:nvCxnSpPr>
          <p:spPr>
            <a:xfrm>
              <a:off x="3710027" y="2232547"/>
              <a:ext cx="1636475" cy="0"/>
            </a:xfrm>
            <a:prstGeom prst="line">
              <a:avLst/>
            </a:prstGeom>
            <a:ln w="9525" cap="flat" cmpd="sng" algn="ctr">
              <a:solidFill>
                <a:srgbClr val="4589FF"/>
              </a:solidFill>
              <a:prstDash val="solid"/>
              <a:round/>
              <a:headEnd type="none" w="med" len="med"/>
              <a:tailEnd type="none" w="med" len="med"/>
            </a:ln>
          </p:spPr>
        </p:cxnSp>
        <p:grpSp>
          <p:nvGrpSpPr>
            <p:cNvPr id="62" name="Group 61">
              <a:extLst>
                <a:ext uri="{FF2B5EF4-FFF2-40B4-BE49-F238E27FC236}">
                  <a16:creationId xmlns:a16="http://schemas.microsoft.com/office/drawing/2014/main" id="{4446C9C2-18F5-26A8-BA7E-F72ED2CD4238}"/>
                </a:ext>
              </a:extLst>
            </p:cNvPr>
            <p:cNvGrpSpPr>
              <a:grpSpLocks noChangeAspect="1"/>
            </p:cNvGrpSpPr>
            <p:nvPr/>
          </p:nvGrpSpPr>
          <p:grpSpPr>
            <a:xfrm>
              <a:off x="4038116" y="936916"/>
              <a:ext cx="1426775" cy="980295"/>
              <a:chOff x="5273675" y="2606675"/>
              <a:chExt cx="2393716" cy="1644650"/>
            </a:xfrm>
          </p:grpSpPr>
          <p:sp>
            <p:nvSpPr>
              <p:cNvPr id="63" name="AutoShape 9">
                <a:extLst>
                  <a:ext uri="{FF2B5EF4-FFF2-40B4-BE49-F238E27FC236}">
                    <a16:creationId xmlns:a16="http://schemas.microsoft.com/office/drawing/2014/main" id="{D899D301-272E-0E45-CACE-67ECDB3D1AD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sp>
            <p:nvSpPr>
              <p:cNvPr id="64" name="Freeform 7">
                <a:extLst>
                  <a:ext uri="{FF2B5EF4-FFF2-40B4-BE49-F238E27FC236}">
                    <a16:creationId xmlns:a16="http://schemas.microsoft.com/office/drawing/2014/main" id="{892E701D-AA45-321C-F4EC-A3F763ED503F}"/>
                  </a:ext>
                </a:extLst>
              </p:cNvPr>
              <p:cNvSpPr>
                <a:spLocks/>
              </p:cNvSpPr>
              <p:nvPr/>
            </p:nvSpPr>
            <p:spPr bwMode="auto">
              <a:xfrm>
                <a:off x="6715853" y="3111616"/>
                <a:ext cx="951538" cy="892319"/>
              </a:xfrm>
              <a:custGeom>
                <a:avLst/>
                <a:gdLst>
                  <a:gd name="connsiteX0" fmla="*/ 384584 w 1170762"/>
                  <a:gd name="connsiteY0" fmla="*/ 986228 h 1171951"/>
                  <a:gd name="connsiteX1" fmla="*/ 395909 w 1170762"/>
                  <a:gd name="connsiteY1" fmla="*/ 991036 h 1171951"/>
                  <a:gd name="connsiteX2" fmla="*/ 395909 w 1170762"/>
                  <a:gd name="connsiteY2" fmla="*/ 1013119 h 1171951"/>
                  <a:gd name="connsiteX3" fmla="*/ 317438 w 1170762"/>
                  <a:gd name="connsiteY3" fmla="*/ 1090764 h 1171951"/>
                  <a:gd name="connsiteX4" fmla="*/ 306024 w 1170762"/>
                  <a:gd name="connsiteY4" fmla="*/ 1095750 h 1171951"/>
                  <a:gd name="connsiteX5" fmla="*/ 294610 w 1170762"/>
                  <a:gd name="connsiteY5" fmla="*/ 1090764 h 1171951"/>
                  <a:gd name="connsiteX6" fmla="*/ 294610 w 1170762"/>
                  <a:gd name="connsiteY6" fmla="*/ 1068681 h 1171951"/>
                  <a:gd name="connsiteX7" fmla="*/ 373795 w 1170762"/>
                  <a:gd name="connsiteY7" fmla="*/ 991036 h 1171951"/>
                  <a:gd name="connsiteX8" fmla="*/ 384584 w 1170762"/>
                  <a:gd name="connsiteY8" fmla="*/ 986228 h 1171951"/>
                  <a:gd name="connsiteX9" fmla="*/ 349709 w 1170762"/>
                  <a:gd name="connsiteY9" fmla="*/ 913026 h 1171951"/>
                  <a:gd name="connsiteX10" fmla="*/ 361001 w 1170762"/>
                  <a:gd name="connsiteY10" fmla="*/ 917305 h 1171951"/>
                  <a:gd name="connsiteX11" fmla="*/ 361001 w 1170762"/>
                  <a:gd name="connsiteY11" fmla="*/ 939410 h 1171951"/>
                  <a:gd name="connsiteX12" fmla="*/ 176068 w 1170762"/>
                  <a:gd name="connsiteY12" fmla="*/ 1124810 h 1171951"/>
                  <a:gd name="connsiteX13" fmla="*/ 164687 w 1170762"/>
                  <a:gd name="connsiteY13" fmla="*/ 1129088 h 1171951"/>
                  <a:gd name="connsiteX14" fmla="*/ 153307 w 1170762"/>
                  <a:gd name="connsiteY14" fmla="*/ 1124810 h 1171951"/>
                  <a:gd name="connsiteX15" fmla="*/ 153307 w 1170762"/>
                  <a:gd name="connsiteY15" fmla="*/ 1101991 h 1171951"/>
                  <a:gd name="connsiteX16" fmla="*/ 338951 w 1170762"/>
                  <a:gd name="connsiteY16" fmla="*/ 917305 h 1171951"/>
                  <a:gd name="connsiteX17" fmla="*/ 349709 w 1170762"/>
                  <a:gd name="connsiteY17" fmla="*/ 913026 h 1171951"/>
                  <a:gd name="connsiteX18" fmla="*/ 335240 w 1170762"/>
                  <a:gd name="connsiteY18" fmla="*/ 822542 h 1171951"/>
                  <a:gd name="connsiteX19" fmla="*/ 346683 w 1170762"/>
                  <a:gd name="connsiteY19" fmla="*/ 826829 h 1171951"/>
                  <a:gd name="connsiteX20" fmla="*/ 346683 w 1170762"/>
                  <a:gd name="connsiteY20" fmla="*/ 848980 h 1171951"/>
                  <a:gd name="connsiteX21" fmla="*/ 26998 w 1170762"/>
                  <a:gd name="connsiteY21" fmla="*/ 1166949 h 1171951"/>
                  <a:gd name="connsiteX22" fmla="*/ 15555 w 1170762"/>
                  <a:gd name="connsiteY22" fmla="*/ 1171951 h 1171951"/>
                  <a:gd name="connsiteX23" fmla="*/ 4827 w 1170762"/>
                  <a:gd name="connsiteY23" fmla="*/ 1166949 h 1171951"/>
                  <a:gd name="connsiteX24" fmla="*/ 4827 w 1170762"/>
                  <a:gd name="connsiteY24" fmla="*/ 1144799 h 1171951"/>
                  <a:gd name="connsiteX25" fmla="*/ 323797 w 1170762"/>
                  <a:gd name="connsiteY25" fmla="*/ 826829 h 1171951"/>
                  <a:gd name="connsiteX26" fmla="*/ 335240 w 1170762"/>
                  <a:gd name="connsiteY26" fmla="*/ 822542 h 1171951"/>
                  <a:gd name="connsiteX27" fmla="*/ 243224 w 1170762"/>
                  <a:gd name="connsiteY27" fmla="*/ 806674 h 1171951"/>
                  <a:gd name="connsiteX28" fmla="*/ 254598 w 1170762"/>
                  <a:gd name="connsiteY28" fmla="*/ 810984 h 1171951"/>
                  <a:gd name="connsiteX29" fmla="*/ 254598 w 1170762"/>
                  <a:gd name="connsiteY29" fmla="*/ 832532 h 1171951"/>
                  <a:gd name="connsiteX30" fmla="*/ 68323 w 1170762"/>
                  <a:gd name="connsiteY30" fmla="*/ 1020003 h 1171951"/>
                  <a:gd name="connsiteX31" fmla="*/ 56860 w 1170762"/>
                  <a:gd name="connsiteY31" fmla="*/ 1024313 h 1171951"/>
                  <a:gd name="connsiteX32" fmla="*/ 46114 w 1170762"/>
                  <a:gd name="connsiteY32" fmla="*/ 1020003 h 1171951"/>
                  <a:gd name="connsiteX33" fmla="*/ 46114 w 1170762"/>
                  <a:gd name="connsiteY33" fmla="*/ 997019 h 1171951"/>
                  <a:gd name="connsiteX34" fmla="*/ 232388 w 1170762"/>
                  <a:gd name="connsiteY34" fmla="*/ 810984 h 1171951"/>
                  <a:gd name="connsiteX35" fmla="*/ 243224 w 1170762"/>
                  <a:gd name="connsiteY35" fmla="*/ 806674 h 1171951"/>
                  <a:gd name="connsiteX36" fmla="*/ 169671 w 1170762"/>
                  <a:gd name="connsiteY36" fmla="*/ 773313 h 1171951"/>
                  <a:gd name="connsiteX37" fmla="*/ 180924 w 1170762"/>
                  <a:gd name="connsiteY37" fmla="*/ 777553 h 1171951"/>
                  <a:gd name="connsiteX38" fmla="*/ 180924 w 1170762"/>
                  <a:gd name="connsiteY38" fmla="*/ 799461 h 1171951"/>
                  <a:gd name="connsiteX39" fmla="*/ 102946 w 1170762"/>
                  <a:gd name="connsiteY39" fmla="*/ 877198 h 1171951"/>
                  <a:gd name="connsiteX40" fmla="*/ 91604 w 1170762"/>
                  <a:gd name="connsiteY40" fmla="*/ 881438 h 1171951"/>
                  <a:gd name="connsiteX41" fmla="*/ 80971 w 1170762"/>
                  <a:gd name="connsiteY41" fmla="*/ 877198 h 1171951"/>
                  <a:gd name="connsiteX42" fmla="*/ 80971 w 1170762"/>
                  <a:gd name="connsiteY42" fmla="*/ 854583 h 1171951"/>
                  <a:gd name="connsiteX43" fmla="*/ 158949 w 1170762"/>
                  <a:gd name="connsiteY43" fmla="*/ 777553 h 1171951"/>
                  <a:gd name="connsiteX44" fmla="*/ 169671 w 1170762"/>
                  <a:gd name="connsiteY44" fmla="*/ 773313 h 1171951"/>
                  <a:gd name="connsiteX45" fmla="*/ 792141 w 1170762"/>
                  <a:gd name="connsiteY45" fmla="*/ 692525 h 1171951"/>
                  <a:gd name="connsiteX46" fmla="*/ 741449 w 1170762"/>
                  <a:gd name="connsiteY46" fmla="*/ 911166 h 1171951"/>
                  <a:gd name="connsiteX47" fmla="*/ 737165 w 1170762"/>
                  <a:gd name="connsiteY47" fmla="*/ 919026 h 1171951"/>
                  <a:gd name="connsiteX48" fmla="*/ 562955 w 1170762"/>
                  <a:gd name="connsiteY48" fmla="*/ 1091939 h 1171951"/>
                  <a:gd name="connsiteX49" fmla="*/ 536537 w 1170762"/>
                  <a:gd name="connsiteY49" fmla="*/ 1084794 h 1171951"/>
                  <a:gd name="connsiteX50" fmla="*/ 507978 w 1170762"/>
                  <a:gd name="connsiteY50" fmla="*/ 975473 h 1171951"/>
                  <a:gd name="connsiteX51" fmla="*/ 792141 w 1170762"/>
                  <a:gd name="connsiteY51" fmla="*/ 692525 h 1171951"/>
                  <a:gd name="connsiteX52" fmla="*/ 480991 w 1170762"/>
                  <a:gd name="connsiteY52" fmla="*/ 382963 h 1171951"/>
                  <a:gd name="connsiteX53" fmla="*/ 197219 w 1170762"/>
                  <a:gd name="connsiteY53" fmla="*/ 663951 h 1171951"/>
                  <a:gd name="connsiteX54" fmla="*/ 87141 w 1170762"/>
                  <a:gd name="connsiteY54" fmla="*/ 635496 h 1171951"/>
                  <a:gd name="connsiteX55" fmla="*/ 79993 w 1170762"/>
                  <a:gd name="connsiteY55" fmla="*/ 609887 h 1171951"/>
                  <a:gd name="connsiteX56" fmla="*/ 253688 w 1170762"/>
                  <a:gd name="connsiteY56" fmla="*/ 437026 h 1171951"/>
                  <a:gd name="connsiteX57" fmla="*/ 261551 w 1170762"/>
                  <a:gd name="connsiteY57" fmla="*/ 432758 h 1171951"/>
                  <a:gd name="connsiteX58" fmla="*/ 480991 w 1170762"/>
                  <a:gd name="connsiteY58" fmla="*/ 382963 h 1171951"/>
                  <a:gd name="connsiteX59" fmla="*/ 777840 w 1170762"/>
                  <a:gd name="connsiteY59" fmla="*/ 146424 h 1171951"/>
                  <a:gd name="connsiteX60" fmla="*/ 798538 w 1170762"/>
                  <a:gd name="connsiteY60" fmla="*/ 154989 h 1171951"/>
                  <a:gd name="connsiteX61" fmla="*/ 840648 w 1170762"/>
                  <a:gd name="connsiteY61" fmla="*/ 172832 h 1171951"/>
                  <a:gd name="connsiteX62" fmla="*/ 949134 w 1170762"/>
                  <a:gd name="connsiteY62" fmla="*/ 255624 h 1171951"/>
                  <a:gd name="connsiteX63" fmla="*/ 1016938 w 1170762"/>
                  <a:gd name="connsiteY63" fmla="*/ 374103 h 1171951"/>
                  <a:gd name="connsiteX64" fmla="*/ 1025503 w 1170762"/>
                  <a:gd name="connsiteY64" fmla="*/ 397656 h 1171951"/>
                  <a:gd name="connsiteX65" fmla="*/ 490208 w 1170762"/>
                  <a:gd name="connsiteY65" fmla="*/ 932237 h 1171951"/>
                  <a:gd name="connsiteX66" fmla="*/ 239690 w 1170762"/>
                  <a:gd name="connsiteY66" fmla="*/ 684574 h 1171951"/>
                  <a:gd name="connsiteX67" fmla="*/ 777840 w 1170762"/>
                  <a:gd name="connsiteY67" fmla="*/ 146424 h 1171951"/>
                  <a:gd name="connsiteX68" fmla="*/ 1074438 w 1170762"/>
                  <a:gd name="connsiteY68" fmla="*/ 112 h 1171951"/>
                  <a:gd name="connsiteX69" fmla="*/ 1145016 w 1170762"/>
                  <a:gd name="connsiteY69" fmla="*/ 26065 h 1171951"/>
                  <a:gd name="connsiteX70" fmla="*/ 1064356 w 1170762"/>
                  <a:gd name="connsiteY70" fmla="*/ 354547 h 1171951"/>
                  <a:gd name="connsiteX71" fmla="*/ 1062928 w 1170762"/>
                  <a:gd name="connsiteY71" fmla="*/ 355975 h 1171951"/>
                  <a:gd name="connsiteX72" fmla="*/ 985838 w 1170762"/>
                  <a:gd name="connsiteY72" fmla="*/ 221726 h 1171951"/>
                  <a:gd name="connsiteX73" fmla="*/ 861636 w 1170762"/>
                  <a:gd name="connsiteY73" fmla="*/ 127466 h 1171951"/>
                  <a:gd name="connsiteX74" fmla="*/ 815952 w 1170762"/>
                  <a:gd name="connsiteY74" fmla="*/ 107471 h 1171951"/>
                  <a:gd name="connsiteX75" fmla="*/ 816666 w 1170762"/>
                  <a:gd name="connsiteY75" fmla="*/ 106757 h 1171951"/>
                  <a:gd name="connsiteX76" fmla="*/ 1074438 w 1170762"/>
                  <a:gd name="connsiteY76" fmla="*/ 112 h 117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170762" h="1171951">
                    <a:moveTo>
                      <a:pt x="384584" y="986228"/>
                    </a:moveTo>
                    <a:cubicBezTo>
                      <a:pt x="388597" y="986228"/>
                      <a:pt x="392699" y="987831"/>
                      <a:pt x="395909" y="991036"/>
                    </a:cubicBezTo>
                    <a:cubicBezTo>
                      <a:pt x="401616" y="997447"/>
                      <a:pt x="401616" y="1007420"/>
                      <a:pt x="395909" y="1013119"/>
                    </a:cubicBezTo>
                    <a:cubicBezTo>
                      <a:pt x="395909" y="1013119"/>
                      <a:pt x="395909" y="1013119"/>
                      <a:pt x="317438" y="1090764"/>
                    </a:cubicBezTo>
                    <a:cubicBezTo>
                      <a:pt x="313871" y="1094325"/>
                      <a:pt x="310304" y="1095750"/>
                      <a:pt x="306024" y="1095750"/>
                    </a:cubicBezTo>
                    <a:cubicBezTo>
                      <a:pt x="301744" y="1095750"/>
                      <a:pt x="298177" y="1094325"/>
                      <a:pt x="294610" y="1090764"/>
                    </a:cubicBezTo>
                    <a:cubicBezTo>
                      <a:pt x="288903" y="1085065"/>
                      <a:pt x="288903" y="1075092"/>
                      <a:pt x="294610" y="1068681"/>
                    </a:cubicBezTo>
                    <a:cubicBezTo>
                      <a:pt x="294610" y="1068681"/>
                      <a:pt x="294610" y="1068681"/>
                      <a:pt x="373795" y="991036"/>
                    </a:cubicBezTo>
                    <a:cubicBezTo>
                      <a:pt x="376648" y="987831"/>
                      <a:pt x="380572" y="986228"/>
                      <a:pt x="384584" y="986228"/>
                    </a:cubicBezTo>
                    <a:close/>
                    <a:moveTo>
                      <a:pt x="349709" y="913026"/>
                    </a:moveTo>
                    <a:cubicBezTo>
                      <a:pt x="353710" y="913026"/>
                      <a:pt x="357800" y="914452"/>
                      <a:pt x="361001" y="917305"/>
                    </a:cubicBezTo>
                    <a:cubicBezTo>
                      <a:pt x="366691" y="923722"/>
                      <a:pt x="366691" y="933705"/>
                      <a:pt x="361001" y="939410"/>
                    </a:cubicBezTo>
                    <a:cubicBezTo>
                      <a:pt x="361001" y="939410"/>
                      <a:pt x="361001" y="939410"/>
                      <a:pt x="176068" y="1124810"/>
                    </a:cubicBezTo>
                    <a:cubicBezTo>
                      <a:pt x="172511" y="1127662"/>
                      <a:pt x="168955" y="1129088"/>
                      <a:pt x="164687" y="1129088"/>
                    </a:cubicBezTo>
                    <a:cubicBezTo>
                      <a:pt x="160419" y="1129088"/>
                      <a:pt x="156863" y="1127662"/>
                      <a:pt x="153307" y="1124810"/>
                    </a:cubicBezTo>
                    <a:cubicBezTo>
                      <a:pt x="147616" y="1118392"/>
                      <a:pt x="147616" y="1108409"/>
                      <a:pt x="153307" y="1101991"/>
                    </a:cubicBezTo>
                    <a:cubicBezTo>
                      <a:pt x="153307" y="1101991"/>
                      <a:pt x="153307" y="1101991"/>
                      <a:pt x="338951" y="917305"/>
                    </a:cubicBezTo>
                    <a:cubicBezTo>
                      <a:pt x="341796" y="914452"/>
                      <a:pt x="345708" y="913026"/>
                      <a:pt x="349709" y="913026"/>
                    </a:cubicBezTo>
                    <a:close/>
                    <a:moveTo>
                      <a:pt x="335240" y="822542"/>
                    </a:moveTo>
                    <a:cubicBezTo>
                      <a:pt x="339352" y="822542"/>
                      <a:pt x="343465" y="823971"/>
                      <a:pt x="346683" y="826829"/>
                    </a:cubicBezTo>
                    <a:cubicBezTo>
                      <a:pt x="352404" y="832545"/>
                      <a:pt x="352404" y="842549"/>
                      <a:pt x="346683" y="848980"/>
                    </a:cubicBezTo>
                    <a:cubicBezTo>
                      <a:pt x="346683" y="848980"/>
                      <a:pt x="346683" y="848980"/>
                      <a:pt x="26998" y="1166949"/>
                    </a:cubicBezTo>
                    <a:cubicBezTo>
                      <a:pt x="23422" y="1170522"/>
                      <a:pt x="19846" y="1171951"/>
                      <a:pt x="15555" y="1171951"/>
                    </a:cubicBezTo>
                    <a:cubicBezTo>
                      <a:pt x="11264" y="1171951"/>
                      <a:pt x="7688" y="1170522"/>
                      <a:pt x="4827" y="1166949"/>
                    </a:cubicBezTo>
                    <a:cubicBezTo>
                      <a:pt x="-1609" y="1161233"/>
                      <a:pt x="-1609" y="1151230"/>
                      <a:pt x="4827" y="1144799"/>
                    </a:cubicBezTo>
                    <a:cubicBezTo>
                      <a:pt x="4827" y="1144799"/>
                      <a:pt x="4827" y="1144799"/>
                      <a:pt x="323797" y="826829"/>
                    </a:cubicBezTo>
                    <a:cubicBezTo>
                      <a:pt x="327016" y="823971"/>
                      <a:pt x="331128" y="822542"/>
                      <a:pt x="335240" y="822542"/>
                    </a:cubicBezTo>
                    <a:close/>
                    <a:moveTo>
                      <a:pt x="243224" y="806674"/>
                    </a:moveTo>
                    <a:cubicBezTo>
                      <a:pt x="247254" y="806674"/>
                      <a:pt x="251374" y="808111"/>
                      <a:pt x="254598" y="810984"/>
                    </a:cubicBezTo>
                    <a:cubicBezTo>
                      <a:pt x="260329" y="817449"/>
                      <a:pt x="260329" y="827505"/>
                      <a:pt x="254598" y="832532"/>
                    </a:cubicBezTo>
                    <a:cubicBezTo>
                      <a:pt x="254598" y="832532"/>
                      <a:pt x="254598" y="832532"/>
                      <a:pt x="68323" y="1020003"/>
                    </a:cubicBezTo>
                    <a:cubicBezTo>
                      <a:pt x="64741" y="1022877"/>
                      <a:pt x="61159" y="1024313"/>
                      <a:pt x="56860" y="1024313"/>
                    </a:cubicBezTo>
                    <a:cubicBezTo>
                      <a:pt x="52562" y="1024313"/>
                      <a:pt x="48979" y="1022877"/>
                      <a:pt x="46114" y="1020003"/>
                    </a:cubicBezTo>
                    <a:cubicBezTo>
                      <a:pt x="39666" y="1013539"/>
                      <a:pt x="39666" y="1003483"/>
                      <a:pt x="46114" y="997019"/>
                    </a:cubicBezTo>
                    <a:cubicBezTo>
                      <a:pt x="46114" y="997019"/>
                      <a:pt x="46114" y="997019"/>
                      <a:pt x="232388" y="810984"/>
                    </a:cubicBezTo>
                    <a:cubicBezTo>
                      <a:pt x="235254" y="808111"/>
                      <a:pt x="239194" y="806674"/>
                      <a:pt x="243224" y="806674"/>
                    </a:cubicBezTo>
                    <a:close/>
                    <a:moveTo>
                      <a:pt x="169671" y="773313"/>
                    </a:moveTo>
                    <a:cubicBezTo>
                      <a:pt x="173658" y="773313"/>
                      <a:pt x="177734" y="774727"/>
                      <a:pt x="180924" y="777553"/>
                    </a:cubicBezTo>
                    <a:cubicBezTo>
                      <a:pt x="187304" y="783914"/>
                      <a:pt x="187304" y="793807"/>
                      <a:pt x="180924" y="799461"/>
                    </a:cubicBezTo>
                    <a:cubicBezTo>
                      <a:pt x="180924" y="799461"/>
                      <a:pt x="180924" y="799461"/>
                      <a:pt x="102946" y="877198"/>
                    </a:cubicBezTo>
                    <a:cubicBezTo>
                      <a:pt x="99402" y="880024"/>
                      <a:pt x="95857" y="881438"/>
                      <a:pt x="91604" y="881438"/>
                    </a:cubicBezTo>
                    <a:cubicBezTo>
                      <a:pt x="88060" y="881438"/>
                      <a:pt x="83806" y="880024"/>
                      <a:pt x="80971" y="877198"/>
                    </a:cubicBezTo>
                    <a:cubicBezTo>
                      <a:pt x="74591" y="870837"/>
                      <a:pt x="74591" y="860944"/>
                      <a:pt x="80971" y="854583"/>
                    </a:cubicBezTo>
                    <a:cubicBezTo>
                      <a:pt x="80971" y="854583"/>
                      <a:pt x="80971" y="854583"/>
                      <a:pt x="158949" y="777553"/>
                    </a:cubicBezTo>
                    <a:cubicBezTo>
                      <a:pt x="161784" y="774727"/>
                      <a:pt x="165683" y="773313"/>
                      <a:pt x="169671" y="773313"/>
                    </a:cubicBezTo>
                    <a:close/>
                    <a:moveTo>
                      <a:pt x="792141" y="692525"/>
                    </a:moveTo>
                    <a:cubicBezTo>
                      <a:pt x="741449" y="911166"/>
                      <a:pt x="741449" y="911166"/>
                      <a:pt x="741449" y="911166"/>
                    </a:cubicBezTo>
                    <a:cubicBezTo>
                      <a:pt x="740735" y="914025"/>
                      <a:pt x="739307" y="916883"/>
                      <a:pt x="737165" y="919026"/>
                    </a:cubicBezTo>
                    <a:cubicBezTo>
                      <a:pt x="562955" y="1091939"/>
                      <a:pt x="562955" y="1091939"/>
                      <a:pt x="562955" y="1091939"/>
                    </a:cubicBezTo>
                    <a:cubicBezTo>
                      <a:pt x="554387" y="1100513"/>
                      <a:pt x="540107" y="1096226"/>
                      <a:pt x="536537" y="1084794"/>
                    </a:cubicBezTo>
                    <a:cubicBezTo>
                      <a:pt x="507978" y="975473"/>
                      <a:pt x="507978" y="975473"/>
                      <a:pt x="507978" y="975473"/>
                    </a:cubicBezTo>
                    <a:cubicBezTo>
                      <a:pt x="792141" y="692525"/>
                      <a:pt x="792141" y="692525"/>
                      <a:pt x="792141" y="692525"/>
                    </a:cubicBezTo>
                    <a:close/>
                    <a:moveTo>
                      <a:pt x="480991" y="382963"/>
                    </a:moveTo>
                    <a:cubicBezTo>
                      <a:pt x="480991" y="382963"/>
                      <a:pt x="480991" y="382963"/>
                      <a:pt x="197219" y="663951"/>
                    </a:cubicBezTo>
                    <a:cubicBezTo>
                      <a:pt x="197219" y="663951"/>
                      <a:pt x="197219" y="663951"/>
                      <a:pt x="87141" y="635496"/>
                    </a:cubicBezTo>
                    <a:cubicBezTo>
                      <a:pt x="75704" y="631940"/>
                      <a:pt x="71416" y="618424"/>
                      <a:pt x="79993" y="609887"/>
                    </a:cubicBezTo>
                    <a:cubicBezTo>
                      <a:pt x="79993" y="609887"/>
                      <a:pt x="79993" y="609887"/>
                      <a:pt x="253688" y="437026"/>
                    </a:cubicBezTo>
                    <a:cubicBezTo>
                      <a:pt x="255832" y="434892"/>
                      <a:pt x="258691" y="433470"/>
                      <a:pt x="261551" y="432758"/>
                    </a:cubicBezTo>
                    <a:cubicBezTo>
                      <a:pt x="261551" y="432758"/>
                      <a:pt x="261551" y="432758"/>
                      <a:pt x="480991" y="382963"/>
                    </a:cubicBezTo>
                    <a:close/>
                    <a:moveTo>
                      <a:pt x="777840" y="146424"/>
                    </a:moveTo>
                    <a:cubicBezTo>
                      <a:pt x="777840" y="146424"/>
                      <a:pt x="777840" y="146424"/>
                      <a:pt x="798538" y="154989"/>
                    </a:cubicBezTo>
                    <a:cubicBezTo>
                      <a:pt x="811385" y="159985"/>
                      <a:pt x="824946" y="165695"/>
                      <a:pt x="840648" y="172832"/>
                    </a:cubicBezTo>
                    <a:cubicBezTo>
                      <a:pt x="869197" y="187820"/>
                      <a:pt x="912021" y="214228"/>
                      <a:pt x="949134" y="255624"/>
                    </a:cubicBezTo>
                    <a:cubicBezTo>
                      <a:pt x="975542" y="287742"/>
                      <a:pt x="998382" y="326997"/>
                      <a:pt x="1016938" y="374103"/>
                    </a:cubicBezTo>
                    <a:cubicBezTo>
                      <a:pt x="1016938" y="374103"/>
                      <a:pt x="1016938" y="374103"/>
                      <a:pt x="1025503" y="397656"/>
                    </a:cubicBezTo>
                    <a:cubicBezTo>
                      <a:pt x="1025503" y="397656"/>
                      <a:pt x="1025503" y="397656"/>
                      <a:pt x="490208" y="932237"/>
                    </a:cubicBezTo>
                    <a:cubicBezTo>
                      <a:pt x="424545" y="800198"/>
                      <a:pt x="303211" y="720260"/>
                      <a:pt x="239690" y="684574"/>
                    </a:cubicBezTo>
                    <a:cubicBezTo>
                      <a:pt x="239690" y="684574"/>
                      <a:pt x="239690" y="684574"/>
                      <a:pt x="777840" y="146424"/>
                    </a:cubicBezTo>
                    <a:close/>
                    <a:moveTo>
                      <a:pt x="1074438" y="112"/>
                    </a:moveTo>
                    <a:cubicBezTo>
                      <a:pt x="1103080" y="1116"/>
                      <a:pt x="1127884" y="8927"/>
                      <a:pt x="1145016" y="26065"/>
                    </a:cubicBezTo>
                    <a:cubicBezTo>
                      <a:pt x="1212827" y="94618"/>
                      <a:pt x="1132881" y="285994"/>
                      <a:pt x="1064356" y="354547"/>
                    </a:cubicBezTo>
                    <a:cubicBezTo>
                      <a:pt x="1062928" y="355975"/>
                      <a:pt x="1062928" y="355975"/>
                      <a:pt x="1062928" y="355975"/>
                    </a:cubicBezTo>
                    <a:cubicBezTo>
                      <a:pt x="1048652" y="319556"/>
                      <a:pt x="1024383" y="268142"/>
                      <a:pt x="985838" y="221726"/>
                    </a:cubicBezTo>
                    <a:cubicBezTo>
                      <a:pt x="943723" y="175310"/>
                      <a:pt x="895898" y="144604"/>
                      <a:pt x="861636" y="127466"/>
                    </a:cubicBezTo>
                    <a:cubicBezTo>
                      <a:pt x="845218" y="118897"/>
                      <a:pt x="829515" y="112470"/>
                      <a:pt x="815952" y="107471"/>
                    </a:cubicBezTo>
                    <a:cubicBezTo>
                      <a:pt x="816666" y="106757"/>
                      <a:pt x="816666" y="106757"/>
                      <a:pt x="816666" y="106757"/>
                    </a:cubicBezTo>
                    <a:cubicBezTo>
                      <a:pt x="868060" y="55343"/>
                      <a:pt x="988514" y="-2900"/>
                      <a:pt x="1074438" y="112"/>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grpSp>
      </p:grpSp>
      <p:grpSp>
        <p:nvGrpSpPr>
          <p:cNvPr id="65" name="Group 64">
            <a:extLst>
              <a:ext uri="{FF2B5EF4-FFF2-40B4-BE49-F238E27FC236}">
                <a16:creationId xmlns:a16="http://schemas.microsoft.com/office/drawing/2014/main" id="{B16F66B6-DFE2-8D12-D641-B82A3C24E12B}"/>
              </a:ext>
            </a:extLst>
          </p:cNvPr>
          <p:cNvGrpSpPr/>
          <p:nvPr/>
        </p:nvGrpSpPr>
        <p:grpSpPr>
          <a:xfrm>
            <a:off x="12053707" y="10142115"/>
            <a:ext cx="4697921" cy="2614120"/>
            <a:chOff x="-201128" y="936916"/>
            <a:chExt cx="1950402" cy="980295"/>
          </a:xfrm>
        </p:grpSpPr>
        <p:sp>
          <p:nvSpPr>
            <p:cNvPr id="66" name="Rectangle 65">
              <a:extLst>
                <a:ext uri="{FF2B5EF4-FFF2-40B4-BE49-F238E27FC236}">
                  <a16:creationId xmlns:a16="http://schemas.microsoft.com/office/drawing/2014/main" id="{68F8FA7E-131D-D4C8-797D-A7BC6525E89B}"/>
                </a:ext>
              </a:extLst>
            </p:cNvPr>
            <p:cNvSpPr/>
            <p:nvPr/>
          </p:nvSpPr>
          <p:spPr>
            <a:xfrm>
              <a:off x="-201128" y="1592941"/>
              <a:ext cx="1939664" cy="2942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chemeClr val="bg2">
                      <a:lumMod val="10000"/>
                    </a:schemeClr>
                  </a:solidFill>
                  <a:latin typeface="IBM Plex Sans" panose="020B0503050203000203" pitchFamily="34" charset="0"/>
                </a:rPr>
                <a:t>(Tech) Sales / </a:t>
              </a:r>
            </a:p>
            <a:p>
              <a:pPr defTabSz="1828754" hangingPunct="1">
                <a:defRPr/>
              </a:pPr>
              <a:r>
                <a:rPr lang="en-US" kern="1200" dirty="0">
                  <a:solidFill>
                    <a:schemeClr val="bg2">
                      <a:lumMod val="10000"/>
                    </a:schemeClr>
                  </a:solidFill>
                  <a:latin typeface="IBM Plex Sans" panose="020B0503050203000203" pitchFamily="34" charset="0"/>
                </a:rPr>
                <a:t>Client Engineering</a:t>
              </a:r>
            </a:p>
          </p:txBody>
        </p:sp>
        <p:cxnSp>
          <p:nvCxnSpPr>
            <p:cNvPr id="67" name="Straight Connector 66">
              <a:extLst>
                <a:ext uri="{FF2B5EF4-FFF2-40B4-BE49-F238E27FC236}">
                  <a16:creationId xmlns:a16="http://schemas.microsoft.com/office/drawing/2014/main" id="{8AFFB9A1-FD8E-BC65-395F-11D29C953DD2}"/>
                </a:ext>
              </a:extLst>
            </p:cNvPr>
            <p:cNvCxnSpPr>
              <a:cxnSpLocks/>
            </p:cNvCxnSpPr>
            <p:nvPr/>
          </p:nvCxnSpPr>
          <p:spPr>
            <a:xfrm>
              <a:off x="167401" y="1894277"/>
              <a:ext cx="1288412" cy="0"/>
            </a:xfrm>
            <a:prstGeom prst="line">
              <a:avLst/>
            </a:prstGeom>
            <a:ln w="0" cap="flat" cmpd="sng" algn="ctr">
              <a:solidFill>
                <a:srgbClr val="4589FF"/>
              </a:solidFill>
              <a:prstDash val="solid"/>
              <a:round/>
              <a:headEnd type="none" w="med" len="med"/>
              <a:tailEnd type="none" w="med" len="med"/>
            </a:ln>
          </p:spPr>
        </p:cxnSp>
        <p:grpSp>
          <p:nvGrpSpPr>
            <p:cNvPr id="68" name="Group 67">
              <a:extLst>
                <a:ext uri="{FF2B5EF4-FFF2-40B4-BE49-F238E27FC236}">
                  <a16:creationId xmlns:a16="http://schemas.microsoft.com/office/drawing/2014/main" id="{3D0FC7AA-7CB3-D878-1C59-A262D54BD01B}"/>
                </a:ext>
              </a:extLst>
            </p:cNvPr>
            <p:cNvGrpSpPr>
              <a:grpSpLocks noChangeAspect="1"/>
            </p:cNvGrpSpPr>
            <p:nvPr/>
          </p:nvGrpSpPr>
          <p:grpSpPr>
            <a:xfrm>
              <a:off x="524073" y="936916"/>
              <a:ext cx="1225201" cy="980295"/>
              <a:chOff x="5273675" y="2606675"/>
              <a:chExt cx="2055534" cy="1644650"/>
            </a:xfrm>
          </p:grpSpPr>
          <p:sp>
            <p:nvSpPr>
              <p:cNvPr id="69" name="AutoShape 3">
                <a:extLst>
                  <a:ext uri="{FF2B5EF4-FFF2-40B4-BE49-F238E27FC236}">
                    <a16:creationId xmlns:a16="http://schemas.microsoft.com/office/drawing/2014/main" id="{C428763E-9BAD-3E26-4BEE-B98C15D5842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sp>
            <p:nvSpPr>
              <p:cNvPr id="70" name="Freeform 8">
                <a:extLst>
                  <a:ext uri="{FF2B5EF4-FFF2-40B4-BE49-F238E27FC236}">
                    <a16:creationId xmlns:a16="http://schemas.microsoft.com/office/drawing/2014/main" id="{9E2D34D3-1F9F-1F95-0312-832534BF11AE}"/>
                  </a:ext>
                </a:extLst>
              </p:cNvPr>
              <p:cNvSpPr>
                <a:spLocks/>
              </p:cNvSpPr>
              <p:nvPr/>
            </p:nvSpPr>
            <p:spPr bwMode="auto">
              <a:xfrm>
                <a:off x="6344522" y="3289387"/>
                <a:ext cx="984687" cy="822344"/>
              </a:xfrm>
              <a:custGeom>
                <a:avLst/>
                <a:gdLst>
                  <a:gd name="connsiteX0" fmla="*/ 1051630 w 1163264"/>
                  <a:gd name="connsiteY0" fmla="*/ 384175 h 1238250"/>
                  <a:gd name="connsiteX1" fmla="*/ 1067316 w 1163264"/>
                  <a:gd name="connsiteY1" fmla="*/ 469797 h 1238250"/>
                  <a:gd name="connsiteX2" fmla="*/ 1068742 w 1163264"/>
                  <a:gd name="connsiteY2" fmla="*/ 514034 h 1238250"/>
                  <a:gd name="connsiteX3" fmla="*/ 1074446 w 1163264"/>
                  <a:gd name="connsiteY3" fmla="*/ 584672 h 1238250"/>
                  <a:gd name="connsiteX4" fmla="*/ 1122217 w 1163264"/>
                  <a:gd name="connsiteY4" fmla="*/ 661018 h 1238250"/>
                  <a:gd name="connsiteX5" fmla="*/ 1161432 w 1163264"/>
                  <a:gd name="connsiteY5" fmla="*/ 743786 h 1238250"/>
                  <a:gd name="connsiteX6" fmla="*/ 1059473 w 1163264"/>
                  <a:gd name="connsiteY6" fmla="*/ 788023 h 1238250"/>
                  <a:gd name="connsiteX7" fmla="*/ 1062325 w 1163264"/>
                  <a:gd name="connsiteY7" fmla="*/ 872932 h 1238250"/>
                  <a:gd name="connsiteX8" fmla="*/ 1040222 w 1163264"/>
                  <a:gd name="connsiteY8" fmla="*/ 1007785 h 1238250"/>
                  <a:gd name="connsiteX9" fmla="*/ 910456 w 1163264"/>
                  <a:gd name="connsiteY9" fmla="*/ 1029904 h 1238250"/>
                  <a:gd name="connsiteX10" fmla="*/ 826322 w 1163264"/>
                  <a:gd name="connsiteY10" fmla="*/ 1026337 h 1238250"/>
                  <a:gd name="connsiteX11" fmla="*/ 826322 w 1163264"/>
                  <a:gd name="connsiteY11" fmla="*/ 1221839 h 1238250"/>
                  <a:gd name="connsiteX12" fmla="*/ 811349 w 1163264"/>
                  <a:gd name="connsiteY12" fmla="*/ 1237537 h 1238250"/>
                  <a:gd name="connsiteX13" fmla="*/ 787820 w 1163264"/>
                  <a:gd name="connsiteY13" fmla="*/ 1238250 h 1238250"/>
                  <a:gd name="connsiteX14" fmla="*/ 518305 w 1163264"/>
                  <a:gd name="connsiteY14" fmla="*/ 1172607 h 1238250"/>
                  <a:gd name="connsiteX15" fmla="*/ 511175 w 1163264"/>
                  <a:gd name="connsiteY15" fmla="*/ 1159050 h 1238250"/>
                  <a:gd name="connsiteX16" fmla="*/ 511175 w 1163264"/>
                  <a:gd name="connsiteY16" fmla="*/ 1076283 h 1238250"/>
                  <a:gd name="connsiteX17" fmla="*/ 542547 w 1163264"/>
                  <a:gd name="connsiteY17" fmla="*/ 1085558 h 1238250"/>
                  <a:gd name="connsiteX18" fmla="*/ 542547 w 1163264"/>
                  <a:gd name="connsiteY18" fmla="*/ 1149775 h 1238250"/>
                  <a:gd name="connsiteX19" fmla="*/ 794950 w 1163264"/>
                  <a:gd name="connsiteY19" fmla="*/ 1206856 h 1238250"/>
                  <a:gd name="connsiteX20" fmla="*/ 794950 w 1163264"/>
                  <a:gd name="connsiteY20" fmla="*/ 1009212 h 1238250"/>
                  <a:gd name="connsiteX21" fmla="*/ 802080 w 1163264"/>
                  <a:gd name="connsiteY21" fmla="*/ 996369 h 1238250"/>
                  <a:gd name="connsiteX22" fmla="*/ 814914 w 1163264"/>
                  <a:gd name="connsiteY22" fmla="*/ 994229 h 1238250"/>
                  <a:gd name="connsiteX23" fmla="*/ 914734 w 1163264"/>
                  <a:gd name="connsiteY23" fmla="*/ 999223 h 1238250"/>
                  <a:gd name="connsiteX24" fmla="*/ 1017406 w 1163264"/>
                  <a:gd name="connsiteY24" fmla="*/ 986380 h 1238250"/>
                  <a:gd name="connsiteX25" fmla="*/ 1030953 w 1163264"/>
                  <a:gd name="connsiteY25" fmla="*/ 872932 h 1238250"/>
                  <a:gd name="connsiteX26" fmla="*/ 1027388 w 1163264"/>
                  <a:gd name="connsiteY26" fmla="*/ 772326 h 1238250"/>
                  <a:gd name="connsiteX27" fmla="*/ 1031666 w 1163264"/>
                  <a:gd name="connsiteY27" fmla="*/ 759483 h 1238250"/>
                  <a:gd name="connsiteX28" fmla="*/ 1044500 w 1163264"/>
                  <a:gd name="connsiteY28" fmla="*/ 755202 h 1238250"/>
                  <a:gd name="connsiteX29" fmla="*/ 1132199 w 1163264"/>
                  <a:gd name="connsiteY29" fmla="*/ 732369 h 1238250"/>
                  <a:gd name="connsiteX30" fmla="*/ 1100114 w 1163264"/>
                  <a:gd name="connsiteY30" fmla="*/ 683851 h 1238250"/>
                  <a:gd name="connsiteX31" fmla="*/ 1045213 w 1163264"/>
                  <a:gd name="connsiteY31" fmla="*/ 596088 h 1238250"/>
                  <a:gd name="connsiteX32" fmla="*/ 1037370 w 1163264"/>
                  <a:gd name="connsiteY32" fmla="*/ 514748 h 1238250"/>
                  <a:gd name="connsiteX33" fmla="*/ 1035944 w 1163264"/>
                  <a:gd name="connsiteY33" fmla="*/ 472651 h 1238250"/>
                  <a:gd name="connsiteX34" fmla="*/ 1027388 w 1163264"/>
                  <a:gd name="connsiteY34" fmla="*/ 419137 h 1238250"/>
                  <a:gd name="connsiteX35" fmla="*/ 1051630 w 1163264"/>
                  <a:gd name="connsiteY35" fmla="*/ 384175 h 1238250"/>
                  <a:gd name="connsiteX36" fmla="*/ 236181 w 1163264"/>
                  <a:gd name="connsiteY36" fmla="*/ 147637 h 1238250"/>
                  <a:gd name="connsiteX37" fmla="*/ 344805 w 1163264"/>
                  <a:gd name="connsiteY37" fmla="*/ 234543 h 1238250"/>
                  <a:gd name="connsiteX38" fmla="*/ 347663 w 1163264"/>
                  <a:gd name="connsiteY38" fmla="*/ 258762 h 1238250"/>
                  <a:gd name="connsiteX39" fmla="*/ 346234 w 1163264"/>
                  <a:gd name="connsiteY39" fmla="*/ 277283 h 1238250"/>
                  <a:gd name="connsiteX40" fmla="*/ 282632 w 1163264"/>
                  <a:gd name="connsiteY40" fmla="*/ 359914 h 1238250"/>
                  <a:gd name="connsiteX41" fmla="*/ 241898 w 1163264"/>
                  <a:gd name="connsiteY41" fmla="*/ 369887 h 1238250"/>
                  <a:gd name="connsiteX42" fmla="*/ 236181 w 1163264"/>
                  <a:gd name="connsiteY42" fmla="*/ 369887 h 1238250"/>
                  <a:gd name="connsiteX43" fmla="*/ 125413 w 1163264"/>
                  <a:gd name="connsiteY43" fmla="*/ 258762 h 1238250"/>
                  <a:gd name="connsiteX44" fmla="*/ 236181 w 1163264"/>
                  <a:gd name="connsiteY44" fmla="*/ 147637 h 1238250"/>
                  <a:gd name="connsiteX45" fmla="*/ 766041 w 1163264"/>
                  <a:gd name="connsiteY45" fmla="*/ 144462 h 1238250"/>
                  <a:gd name="connsiteX46" fmla="*/ 1055216 w 1163264"/>
                  <a:gd name="connsiteY46" fmla="*/ 315183 h 1238250"/>
                  <a:gd name="connsiteX47" fmla="*/ 1033082 w 1163264"/>
                  <a:gd name="connsiteY47" fmla="*/ 352327 h 1238250"/>
                  <a:gd name="connsiteX48" fmla="*/ 1016659 w 1163264"/>
                  <a:gd name="connsiteY48" fmla="*/ 375900 h 1238250"/>
                  <a:gd name="connsiteX49" fmla="*/ 481150 w 1163264"/>
                  <a:gd name="connsiteY49" fmla="*/ 773058 h 1238250"/>
                  <a:gd name="connsiteX50" fmla="*/ 604674 w 1163264"/>
                  <a:gd name="connsiteY50" fmla="*/ 1060926 h 1238250"/>
                  <a:gd name="connsiteX51" fmla="*/ 539699 w 1163264"/>
                  <a:gd name="connsiteY51" fmla="*/ 1053069 h 1238250"/>
                  <a:gd name="connsiteX52" fmla="*/ 517564 w 1163264"/>
                  <a:gd name="connsiteY52" fmla="*/ 1045926 h 1238250"/>
                  <a:gd name="connsiteX53" fmla="*/ 222676 w 1163264"/>
                  <a:gd name="connsiteY53" fmla="*/ 508762 h 1238250"/>
                  <a:gd name="connsiteX54" fmla="*/ 236957 w 1163264"/>
                  <a:gd name="connsiteY54" fmla="*/ 492333 h 1238250"/>
                  <a:gd name="connsiteX55" fmla="*/ 267659 w 1163264"/>
                  <a:gd name="connsiteY55" fmla="*/ 528048 h 1238250"/>
                  <a:gd name="connsiteX56" fmla="*/ 295506 w 1163264"/>
                  <a:gd name="connsiteY56" fmla="*/ 521620 h 1238250"/>
                  <a:gd name="connsiteX57" fmla="*/ 328350 w 1163264"/>
                  <a:gd name="connsiteY57" fmla="*/ 511619 h 1238250"/>
                  <a:gd name="connsiteX58" fmla="*/ 360481 w 1163264"/>
                  <a:gd name="connsiteY58" fmla="*/ 497333 h 1238250"/>
                  <a:gd name="connsiteX59" fmla="*/ 386185 w 1163264"/>
                  <a:gd name="connsiteY59" fmla="*/ 484475 h 1238250"/>
                  <a:gd name="connsiteX60" fmla="*/ 386899 w 1163264"/>
                  <a:gd name="connsiteY60" fmla="*/ 437331 h 1238250"/>
                  <a:gd name="connsiteX61" fmla="*/ 433310 w 1163264"/>
                  <a:gd name="connsiteY61" fmla="*/ 445188 h 1238250"/>
                  <a:gd name="connsiteX62" fmla="*/ 450447 w 1163264"/>
                  <a:gd name="connsiteY62" fmla="*/ 422330 h 1238250"/>
                  <a:gd name="connsiteX63" fmla="*/ 469011 w 1163264"/>
                  <a:gd name="connsiteY63" fmla="*/ 393043 h 1238250"/>
                  <a:gd name="connsiteX64" fmla="*/ 484720 w 1163264"/>
                  <a:gd name="connsiteY64" fmla="*/ 362328 h 1238250"/>
                  <a:gd name="connsiteX65" fmla="*/ 496144 w 1163264"/>
                  <a:gd name="connsiteY65" fmla="*/ 335898 h 1238250"/>
                  <a:gd name="connsiteX66" fmla="*/ 468297 w 1163264"/>
                  <a:gd name="connsiteY66" fmla="*/ 301611 h 1238250"/>
                  <a:gd name="connsiteX67" fmla="*/ 469011 w 1163264"/>
                  <a:gd name="connsiteY67" fmla="*/ 298040 h 1238250"/>
                  <a:gd name="connsiteX68" fmla="*/ 504712 w 1163264"/>
                  <a:gd name="connsiteY68" fmla="*/ 276610 h 1238250"/>
                  <a:gd name="connsiteX69" fmla="*/ 526132 w 1163264"/>
                  <a:gd name="connsiteY69" fmla="*/ 289468 h 1238250"/>
                  <a:gd name="connsiteX70" fmla="*/ 541127 w 1163264"/>
                  <a:gd name="connsiteY70" fmla="*/ 296611 h 1238250"/>
                  <a:gd name="connsiteX71" fmla="*/ 563975 w 1163264"/>
                  <a:gd name="connsiteY71" fmla="*/ 283039 h 1238250"/>
                  <a:gd name="connsiteX72" fmla="*/ 596820 w 1163264"/>
                  <a:gd name="connsiteY72" fmla="*/ 287325 h 1238250"/>
                  <a:gd name="connsiteX73" fmla="*/ 617526 w 1163264"/>
                  <a:gd name="connsiteY73" fmla="*/ 305897 h 1238250"/>
                  <a:gd name="connsiteX74" fmla="*/ 633234 w 1163264"/>
                  <a:gd name="connsiteY74" fmla="*/ 301611 h 1238250"/>
                  <a:gd name="connsiteX75" fmla="*/ 663937 w 1163264"/>
                  <a:gd name="connsiteY75" fmla="*/ 292325 h 1238250"/>
                  <a:gd name="connsiteX76" fmla="*/ 665365 w 1163264"/>
                  <a:gd name="connsiteY76" fmla="*/ 291611 h 1238250"/>
                  <a:gd name="connsiteX77" fmla="*/ 666793 w 1163264"/>
                  <a:gd name="connsiteY77" fmla="*/ 290896 h 1238250"/>
                  <a:gd name="connsiteX78" fmla="*/ 694640 w 1163264"/>
                  <a:gd name="connsiteY78" fmla="*/ 275181 h 1238250"/>
                  <a:gd name="connsiteX79" fmla="*/ 708206 w 1163264"/>
                  <a:gd name="connsiteY79" fmla="*/ 265895 h 1238250"/>
                  <a:gd name="connsiteX80" fmla="*/ 708206 w 1163264"/>
                  <a:gd name="connsiteY80" fmla="*/ 238752 h 1238250"/>
                  <a:gd name="connsiteX81" fmla="*/ 728198 w 1163264"/>
                  <a:gd name="connsiteY81" fmla="*/ 210893 h 1238250"/>
                  <a:gd name="connsiteX82" fmla="*/ 752475 w 1163264"/>
                  <a:gd name="connsiteY82" fmla="*/ 203750 h 1238250"/>
                  <a:gd name="connsiteX83" fmla="*/ 757473 w 1163264"/>
                  <a:gd name="connsiteY83" fmla="*/ 188750 h 1238250"/>
                  <a:gd name="connsiteX84" fmla="*/ 766041 w 1163264"/>
                  <a:gd name="connsiteY84" fmla="*/ 144462 h 1238250"/>
                  <a:gd name="connsiteX85" fmla="*/ 597001 w 1163264"/>
                  <a:gd name="connsiteY85" fmla="*/ 75928 h 1238250"/>
                  <a:gd name="connsiteX86" fmla="*/ 573031 w 1163264"/>
                  <a:gd name="connsiteY86" fmla="*/ 80491 h 1238250"/>
                  <a:gd name="connsiteX87" fmla="*/ 537289 w 1163264"/>
                  <a:gd name="connsiteY87" fmla="*/ 131564 h 1238250"/>
                  <a:gd name="connsiteX88" fmla="*/ 542293 w 1163264"/>
                  <a:gd name="connsiteY88" fmla="*/ 161057 h 1238250"/>
                  <a:gd name="connsiteX89" fmla="*/ 543723 w 1163264"/>
                  <a:gd name="connsiteY89" fmla="*/ 163215 h 1238250"/>
                  <a:gd name="connsiteX90" fmla="*/ 622355 w 1163264"/>
                  <a:gd name="connsiteY90" fmla="*/ 192708 h 1238250"/>
                  <a:gd name="connsiteX91" fmla="*/ 657383 w 1163264"/>
                  <a:gd name="connsiteY91" fmla="*/ 143793 h 1238250"/>
                  <a:gd name="connsiteX92" fmla="*/ 653094 w 1163264"/>
                  <a:gd name="connsiteY92" fmla="*/ 112142 h 1238250"/>
                  <a:gd name="connsiteX93" fmla="*/ 597001 w 1163264"/>
                  <a:gd name="connsiteY93" fmla="*/ 75928 h 1238250"/>
                  <a:gd name="connsiteX94" fmla="*/ 236538 w 1163264"/>
                  <a:gd name="connsiteY94" fmla="*/ 52387 h 1238250"/>
                  <a:gd name="connsiteX95" fmla="*/ 218699 w 1163264"/>
                  <a:gd name="connsiteY95" fmla="*/ 53101 h 1238250"/>
                  <a:gd name="connsiteX96" fmla="*/ 202288 w 1163264"/>
                  <a:gd name="connsiteY96" fmla="*/ 96670 h 1238250"/>
                  <a:gd name="connsiteX97" fmla="*/ 195152 w 1163264"/>
                  <a:gd name="connsiteY97" fmla="*/ 98812 h 1238250"/>
                  <a:gd name="connsiteX98" fmla="*/ 165897 w 1163264"/>
                  <a:gd name="connsiteY98" fmla="*/ 108812 h 1238250"/>
                  <a:gd name="connsiteX99" fmla="*/ 158761 w 1163264"/>
                  <a:gd name="connsiteY99" fmla="*/ 111669 h 1238250"/>
                  <a:gd name="connsiteX100" fmla="*/ 119516 w 1163264"/>
                  <a:gd name="connsiteY100" fmla="*/ 89527 h 1238250"/>
                  <a:gd name="connsiteX101" fmla="*/ 105245 w 1163264"/>
                  <a:gd name="connsiteY101" fmla="*/ 100955 h 1238250"/>
                  <a:gd name="connsiteX102" fmla="*/ 91688 w 1163264"/>
                  <a:gd name="connsiteY102" fmla="*/ 113097 h 1238250"/>
                  <a:gd name="connsiteX103" fmla="*/ 105245 w 1163264"/>
                  <a:gd name="connsiteY103" fmla="*/ 152380 h 1238250"/>
                  <a:gd name="connsiteX104" fmla="*/ 100251 w 1163264"/>
                  <a:gd name="connsiteY104" fmla="*/ 158808 h 1238250"/>
                  <a:gd name="connsiteX105" fmla="*/ 80271 w 1163264"/>
                  <a:gd name="connsiteY105" fmla="*/ 191663 h 1238250"/>
                  <a:gd name="connsiteX106" fmla="*/ 76704 w 1163264"/>
                  <a:gd name="connsiteY106" fmla="*/ 198805 h 1238250"/>
                  <a:gd name="connsiteX107" fmla="*/ 38172 w 1163264"/>
                  <a:gd name="connsiteY107" fmla="*/ 205948 h 1238250"/>
                  <a:gd name="connsiteX108" fmla="*/ 34604 w 1163264"/>
                  <a:gd name="connsiteY108" fmla="*/ 223804 h 1238250"/>
                  <a:gd name="connsiteX109" fmla="*/ 31750 w 1163264"/>
                  <a:gd name="connsiteY109" fmla="*/ 241660 h 1238250"/>
                  <a:gd name="connsiteX110" fmla="*/ 64573 w 1163264"/>
                  <a:gd name="connsiteY110" fmla="*/ 260230 h 1238250"/>
                  <a:gd name="connsiteX111" fmla="*/ 64573 w 1163264"/>
                  <a:gd name="connsiteY111" fmla="*/ 268800 h 1238250"/>
                  <a:gd name="connsiteX112" fmla="*/ 71709 w 1163264"/>
                  <a:gd name="connsiteY112" fmla="*/ 308798 h 1238250"/>
                  <a:gd name="connsiteX113" fmla="*/ 74563 w 1163264"/>
                  <a:gd name="connsiteY113" fmla="*/ 316654 h 1238250"/>
                  <a:gd name="connsiteX114" fmla="*/ 50302 w 1163264"/>
                  <a:gd name="connsiteY114" fmla="*/ 346652 h 1238250"/>
                  <a:gd name="connsiteX115" fmla="*/ 58865 w 1163264"/>
                  <a:gd name="connsiteY115" fmla="*/ 362365 h 1238250"/>
                  <a:gd name="connsiteX116" fmla="*/ 68141 w 1163264"/>
                  <a:gd name="connsiteY116" fmla="*/ 377364 h 1238250"/>
                  <a:gd name="connsiteX117" fmla="*/ 108100 w 1163264"/>
                  <a:gd name="connsiteY117" fmla="*/ 370936 h 1238250"/>
                  <a:gd name="connsiteX118" fmla="*/ 113808 w 1163264"/>
                  <a:gd name="connsiteY118" fmla="*/ 376650 h 1238250"/>
                  <a:gd name="connsiteX119" fmla="*/ 142350 w 1163264"/>
                  <a:gd name="connsiteY119" fmla="*/ 398791 h 1238250"/>
                  <a:gd name="connsiteX120" fmla="*/ 149485 w 1163264"/>
                  <a:gd name="connsiteY120" fmla="*/ 403791 h 1238250"/>
                  <a:gd name="connsiteX121" fmla="*/ 150199 w 1163264"/>
                  <a:gd name="connsiteY121" fmla="*/ 445931 h 1238250"/>
                  <a:gd name="connsiteX122" fmla="*/ 166610 w 1163264"/>
                  <a:gd name="connsiteY122" fmla="*/ 453073 h 1238250"/>
                  <a:gd name="connsiteX123" fmla="*/ 183735 w 1163264"/>
                  <a:gd name="connsiteY123" fmla="*/ 458787 h 1238250"/>
                  <a:gd name="connsiteX124" fmla="*/ 212277 w 1163264"/>
                  <a:gd name="connsiteY124" fmla="*/ 424504 h 1238250"/>
                  <a:gd name="connsiteX125" fmla="*/ 218699 w 1163264"/>
                  <a:gd name="connsiteY125" fmla="*/ 425218 h 1238250"/>
                  <a:gd name="connsiteX126" fmla="*/ 220126 w 1163264"/>
                  <a:gd name="connsiteY126" fmla="*/ 425218 h 1238250"/>
                  <a:gd name="connsiteX127" fmla="*/ 252236 w 1163264"/>
                  <a:gd name="connsiteY127" fmla="*/ 425218 h 1238250"/>
                  <a:gd name="connsiteX128" fmla="*/ 252949 w 1163264"/>
                  <a:gd name="connsiteY128" fmla="*/ 425218 h 1238250"/>
                  <a:gd name="connsiteX129" fmla="*/ 260798 w 1163264"/>
                  <a:gd name="connsiteY129" fmla="*/ 424504 h 1238250"/>
                  <a:gd name="connsiteX130" fmla="*/ 289340 w 1163264"/>
                  <a:gd name="connsiteY130" fmla="*/ 458787 h 1238250"/>
                  <a:gd name="connsiteX131" fmla="*/ 306465 w 1163264"/>
                  <a:gd name="connsiteY131" fmla="*/ 453073 h 1238250"/>
                  <a:gd name="connsiteX132" fmla="*/ 323590 w 1163264"/>
                  <a:gd name="connsiteY132" fmla="*/ 445931 h 1238250"/>
                  <a:gd name="connsiteX133" fmla="*/ 323590 w 1163264"/>
                  <a:gd name="connsiteY133" fmla="*/ 403791 h 1238250"/>
                  <a:gd name="connsiteX134" fmla="*/ 331439 w 1163264"/>
                  <a:gd name="connsiteY134" fmla="*/ 399506 h 1238250"/>
                  <a:gd name="connsiteX135" fmla="*/ 359981 w 1163264"/>
                  <a:gd name="connsiteY135" fmla="*/ 376650 h 1238250"/>
                  <a:gd name="connsiteX136" fmla="*/ 365689 w 1163264"/>
                  <a:gd name="connsiteY136" fmla="*/ 370936 h 1238250"/>
                  <a:gd name="connsiteX137" fmla="*/ 404934 w 1163264"/>
                  <a:gd name="connsiteY137" fmla="*/ 378079 h 1238250"/>
                  <a:gd name="connsiteX138" fmla="*/ 414924 w 1163264"/>
                  <a:gd name="connsiteY138" fmla="*/ 362365 h 1238250"/>
                  <a:gd name="connsiteX139" fmla="*/ 422773 w 1163264"/>
                  <a:gd name="connsiteY139" fmla="*/ 346652 h 1238250"/>
                  <a:gd name="connsiteX140" fmla="*/ 399226 w 1163264"/>
                  <a:gd name="connsiteY140" fmla="*/ 317369 h 1238250"/>
                  <a:gd name="connsiteX141" fmla="*/ 402080 w 1163264"/>
                  <a:gd name="connsiteY141" fmla="*/ 309512 h 1238250"/>
                  <a:gd name="connsiteX142" fmla="*/ 409216 w 1163264"/>
                  <a:gd name="connsiteY142" fmla="*/ 268800 h 1238250"/>
                  <a:gd name="connsiteX143" fmla="*/ 409929 w 1163264"/>
                  <a:gd name="connsiteY143" fmla="*/ 260230 h 1238250"/>
                  <a:gd name="connsiteX144" fmla="*/ 441325 w 1163264"/>
                  <a:gd name="connsiteY144" fmla="*/ 241660 h 1238250"/>
                  <a:gd name="connsiteX145" fmla="*/ 439185 w 1163264"/>
                  <a:gd name="connsiteY145" fmla="*/ 223804 h 1238250"/>
                  <a:gd name="connsiteX146" fmla="*/ 436330 w 1163264"/>
                  <a:gd name="connsiteY146" fmla="*/ 208805 h 1238250"/>
                  <a:gd name="connsiteX147" fmla="*/ 435617 w 1163264"/>
                  <a:gd name="connsiteY147" fmla="*/ 205948 h 1238250"/>
                  <a:gd name="connsiteX148" fmla="*/ 397085 w 1163264"/>
                  <a:gd name="connsiteY148" fmla="*/ 198805 h 1238250"/>
                  <a:gd name="connsiteX149" fmla="*/ 396372 w 1163264"/>
                  <a:gd name="connsiteY149" fmla="*/ 196663 h 1238250"/>
                  <a:gd name="connsiteX150" fmla="*/ 394231 w 1163264"/>
                  <a:gd name="connsiteY150" fmla="*/ 191663 h 1238250"/>
                  <a:gd name="connsiteX151" fmla="*/ 374252 w 1163264"/>
                  <a:gd name="connsiteY151" fmla="*/ 158808 h 1238250"/>
                  <a:gd name="connsiteX152" fmla="*/ 368544 w 1163264"/>
                  <a:gd name="connsiteY152" fmla="*/ 152380 h 1238250"/>
                  <a:gd name="connsiteX153" fmla="*/ 382101 w 1163264"/>
                  <a:gd name="connsiteY153" fmla="*/ 113097 h 1238250"/>
                  <a:gd name="connsiteX154" fmla="*/ 368544 w 1163264"/>
                  <a:gd name="connsiteY154" fmla="*/ 100955 h 1238250"/>
                  <a:gd name="connsiteX155" fmla="*/ 354986 w 1163264"/>
                  <a:gd name="connsiteY155" fmla="*/ 89527 h 1238250"/>
                  <a:gd name="connsiteX156" fmla="*/ 315741 w 1163264"/>
                  <a:gd name="connsiteY156" fmla="*/ 111669 h 1238250"/>
                  <a:gd name="connsiteX157" fmla="*/ 308606 w 1163264"/>
                  <a:gd name="connsiteY157" fmla="*/ 108812 h 1238250"/>
                  <a:gd name="connsiteX158" fmla="*/ 279350 w 1163264"/>
                  <a:gd name="connsiteY158" fmla="*/ 98812 h 1238250"/>
                  <a:gd name="connsiteX159" fmla="*/ 270788 w 1163264"/>
                  <a:gd name="connsiteY159" fmla="*/ 96670 h 1238250"/>
                  <a:gd name="connsiteX160" fmla="*/ 254376 w 1163264"/>
                  <a:gd name="connsiteY160" fmla="*/ 53101 h 1238250"/>
                  <a:gd name="connsiteX161" fmla="*/ 236538 w 1163264"/>
                  <a:gd name="connsiteY161" fmla="*/ 52387 h 1238250"/>
                  <a:gd name="connsiteX162" fmla="*/ 236975 w 1163264"/>
                  <a:gd name="connsiteY162" fmla="*/ 22225 h 1238250"/>
                  <a:gd name="connsiteX163" fmla="*/ 268381 w 1163264"/>
                  <a:gd name="connsiteY163" fmla="*/ 24362 h 1238250"/>
                  <a:gd name="connsiteX164" fmla="*/ 277660 w 1163264"/>
                  <a:gd name="connsiteY164" fmla="*/ 25074 h 1238250"/>
                  <a:gd name="connsiteX165" fmla="*/ 294791 w 1163264"/>
                  <a:gd name="connsiteY165" fmla="*/ 71368 h 1238250"/>
                  <a:gd name="connsiteX166" fmla="*/ 314063 w 1163264"/>
                  <a:gd name="connsiteY166" fmla="*/ 77778 h 1238250"/>
                  <a:gd name="connsiteX167" fmla="*/ 356890 w 1163264"/>
                  <a:gd name="connsiteY167" fmla="*/ 54275 h 1238250"/>
                  <a:gd name="connsiteX168" fmla="*/ 364741 w 1163264"/>
                  <a:gd name="connsiteY168" fmla="*/ 59260 h 1238250"/>
                  <a:gd name="connsiteX169" fmla="*/ 389724 w 1163264"/>
                  <a:gd name="connsiteY169" fmla="*/ 77778 h 1238250"/>
                  <a:gd name="connsiteX170" fmla="*/ 412564 w 1163264"/>
                  <a:gd name="connsiteY170" fmla="*/ 99145 h 1238250"/>
                  <a:gd name="connsiteX171" fmla="*/ 418988 w 1163264"/>
                  <a:gd name="connsiteY171" fmla="*/ 106267 h 1238250"/>
                  <a:gd name="connsiteX172" fmla="*/ 403999 w 1163264"/>
                  <a:gd name="connsiteY172" fmla="*/ 147575 h 1238250"/>
                  <a:gd name="connsiteX173" fmla="*/ 418988 w 1163264"/>
                  <a:gd name="connsiteY173" fmla="*/ 171791 h 1238250"/>
                  <a:gd name="connsiteX174" fmla="*/ 433978 w 1163264"/>
                  <a:gd name="connsiteY174" fmla="*/ 174640 h 1238250"/>
                  <a:gd name="connsiteX175" fmla="*/ 461101 w 1163264"/>
                  <a:gd name="connsiteY175" fmla="*/ 179625 h 1238250"/>
                  <a:gd name="connsiteX176" fmla="*/ 463243 w 1163264"/>
                  <a:gd name="connsiteY176" fmla="*/ 188884 h 1238250"/>
                  <a:gd name="connsiteX177" fmla="*/ 464670 w 1163264"/>
                  <a:gd name="connsiteY177" fmla="*/ 193870 h 1238250"/>
                  <a:gd name="connsiteX178" fmla="*/ 470381 w 1163264"/>
                  <a:gd name="connsiteY178" fmla="*/ 218797 h 1238250"/>
                  <a:gd name="connsiteX179" fmla="*/ 474663 w 1163264"/>
                  <a:gd name="connsiteY179" fmla="*/ 250135 h 1238250"/>
                  <a:gd name="connsiteX180" fmla="*/ 474663 w 1163264"/>
                  <a:gd name="connsiteY180" fmla="*/ 259394 h 1238250"/>
                  <a:gd name="connsiteX181" fmla="*/ 440402 w 1163264"/>
                  <a:gd name="connsiteY181" fmla="*/ 279336 h 1238250"/>
                  <a:gd name="connsiteX182" fmla="*/ 434692 w 1163264"/>
                  <a:gd name="connsiteY182" fmla="*/ 310673 h 1238250"/>
                  <a:gd name="connsiteX183" fmla="*/ 460388 w 1163264"/>
                  <a:gd name="connsiteY183" fmla="*/ 342011 h 1238250"/>
                  <a:gd name="connsiteX184" fmla="*/ 456105 w 1163264"/>
                  <a:gd name="connsiteY184" fmla="*/ 350557 h 1238250"/>
                  <a:gd name="connsiteX185" fmla="*/ 442543 w 1163264"/>
                  <a:gd name="connsiteY185" fmla="*/ 378334 h 1238250"/>
                  <a:gd name="connsiteX186" fmla="*/ 425412 w 1163264"/>
                  <a:gd name="connsiteY186" fmla="*/ 404686 h 1238250"/>
                  <a:gd name="connsiteX187" fmla="*/ 419702 w 1163264"/>
                  <a:gd name="connsiteY187" fmla="*/ 411808 h 1238250"/>
                  <a:gd name="connsiteX188" fmla="*/ 376162 w 1163264"/>
                  <a:gd name="connsiteY188" fmla="*/ 404686 h 1238250"/>
                  <a:gd name="connsiteX189" fmla="*/ 355462 w 1163264"/>
                  <a:gd name="connsiteY189" fmla="*/ 421067 h 1238250"/>
                  <a:gd name="connsiteX190" fmla="*/ 354748 w 1163264"/>
                  <a:gd name="connsiteY190" fmla="*/ 465937 h 1238250"/>
                  <a:gd name="connsiteX191" fmla="*/ 346897 w 1163264"/>
                  <a:gd name="connsiteY191" fmla="*/ 470210 h 1238250"/>
                  <a:gd name="connsiteX192" fmla="*/ 317632 w 1163264"/>
                  <a:gd name="connsiteY192" fmla="*/ 482318 h 1238250"/>
                  <a:gd name="connsiteX193" fmla="*/ 288367 w 1163264"/>
                  <a:gd name="connsiteY193" fmla="*/ 491576 h 1238250"/>
                  <a:gd name="connsiteX194" fmla="*/ 279088 w 1163264"/>
                  <a:gd name="connsiteY194" fmla="*/ 493713 h 1238250"/>
                  <a:gd name="connsiteX195" fmla="*/ 247682 w 1163264"/>
                  <a:gd name="connsiteY195" fmla="*/ 457390 h 1238250"/>
                  <a:gd name="connsiteX196" fmla="*/ 239830 w 1163264"/>
                  <a:gd name="connsiteY196" fmla="*/ 457390 h 1238250"/>
                  <a:gd name="connsiteX197" fmla="*/ 225554 w 1163264"/>
                  <a:gd name="connsiteY197" fmla="*/ 457390 h 1238250"/>
                  <a:gd name="connsiteX198" fmla="*/ 195576 w 1163264"/>
                  <a:gd name="connsiteY198" fmla="*/ 493713 h 1238250"/>
                  <a:gd name="connsiteX199" fmla="*/ 186297 w 1163264"/>
                  <a:gd name="connsiteY199" fmla="*/ 491576 h 1238250"/>
                  <a:gd name="connsiteX200" fmla="*/ 156318 w 1163264"/>
                  <a:gd name="connsiteY200" fmla="*/ 482318 h 1238250"/>
                  <a:gd name="connsiteX201" fmla="*/ 127767 w 1163264"/>
                  <a:gd name="connsiteY201" fmla="*/ 470210 h 1238250"/>
                  <a:gd name="connsiteX202" fmla="*/ 119201 w 1163264"/>
                  <a:gd name="connsiteY202" fmla="*/ 465937 h 1238250"/>
                  <a:gd name="connsiteX203" fmla="*/ 118488 w 1163264"/>
                  <a:gd name="connsiteY203" fmla="*/ 421067 h 1238250"/>
                  <a:gd name="connsiteX204" fmla="*/ 98502 w 1163264"/>
                  <a:gd name="connsiteY204" fmla="*/ 404686 h 1238250"/>
                  <a:gd name="connsiteX205" fmla="*/ 54961 w 1163264"/>
                  <a:gd name="connsiteY205" fmla="*/ 411808 h 1238250"/>
                  <a:gd name="connsiteX206" fmla="*/ 49251 w 1163264"/>
                  <a:gd name="connsiteY206" fmla="*/ 403974 h 1238250"/>
                  <a:gd name="connsiteX207" fmla="*/ 32120 w 1163264"/>
                  <a:gd name="connsiteY207" fmla="*/ 378334 h 1238250"/>
                  <a:gd name="connsiteX208" fmla="*/ 17845 w 1163264"/>
                  <a:gd name="connsiteY208" fmla="*/ 350557 h 1238250"/>
                  <a:gd name="connsiteX209" fmla="*/ 14276 w 1163264"/>
                  <a:gd name="connsiteY209" fmla="*/ 342011 h 1238250"/>
                  <a:gd name="connsiteX210" fmla="*/ 39972 w 1163264"/>
                  <a:gd name="connsiteY210" fmla="*/ 310673 h 1238250"/>
                  <a:gd name="connsiteX211" fmla="*/ 34262 w 1163264"/>
                  <a:gd name="connsiteY211" fmla="*/ 279336 h 1238250"/>
                  <a:gd name="connsiteX212" fmla="*/ 0 w 1163264"/>
                  <a:gd name="connsiteY212" fmla="*/ 259394 h 1238250"/>
                  <a:gd name="connsiteX213" fmla="*/ 0 w 1163264"/>
                  <a:gd name="connsiteY213" fmla="*/ 249423 h 1238250"/>
                  <a:gd name="connsiteX214" fmla="*/ 4283 w 1163264"/>
                  <a:gd name="connsiteY214" fmla="*/ 218797 h 1238250"/>
                  <a:gd name="connsiteX215" fmla="*/ 11421 w 1163264"/>
                  <a:gd name="connsiteY215" fmla="*/ 188172 h 1238250"/>
                  <a:gd name="connsiteX216" fmla="*/ 13562 w 1163264"/>
                  <a:gd name="connsiteY216" fmla="*/ 179625 h 1238250"/>
                  <a:gd name="connsiteX217" fmla="*/ 55675 w 1163264"/>
                  <a:gd name="connsiteY217" fmla="*/ 171791 h 1238250"/>
                  <a:gd name="connsiteX218" fmla="*/ 70664 w 1163264"/>
                  <a:gd name="connsiteY218" fmla="*/ 147575 h 1238250"/>
                  <a:gd name="connsiteX219" fmla="*/ 55675 w 1163264"/>
                  <a:gd name="connsiteY219" fmla="*/ 106267 h 1238250"/>
                  <a:gd name="connsiteX220" fmla="*/ 62813 w 1163264"/>
                  <a:gd name="connsiteY220" fmla="*/ 99145 h 1238250"/>
                  <a:gd name="connsiteX221" fmla="*/ 84940 w 1163264"/>
                  <a:gd name="connsiteY221" fmla="*/ 77778 h 1238250"/>
                  <a:gd name="connsiteX222" fmla="*/ 109922 w 1163264"/>
                  <a:gd name="connsiteY222" fmla="*/ 59260 h 1238250"/>
                  <a:gd name="connsiteX223" fmla="*/ 117774 w 1163264"/>
                  <a:gd name="connsiteY223" fmla="*/ 54275 h 1238250"/>
                  <a:gd name="connsiteX224" fmla="*/ 160601 w 1163264"/>
                  <a:gd name="connsiteY224" fmla="*/ 77778 h 1238250"/>
                  <a:gd name="connsiteX225" fmla="*/ 179873 w 1163264"/>
                  <a:gd name="connsiteY225" fmla="*/ 71368 h 1238250"/>
                  <a:gd name="connsiteX226" fmla="*/ 197003 w 1163264"/>
                  <a:gd name="connsiteY226" fmla="*/ 25074 h 1238250"/>
                  <a:gd name="connsiteX227" fmla="*/ 206282 w 1163264"/>
                  <a:gd name="connsiteY227" fmla="*/ 24362 h 1238250"/>
                  <a:gd name="connsiteX228" fmla="*/ 236975 w 1163264"/>
                  <a:gd name="connsiteY228" fmla="*/ 22225 h 1238250"/>
                  <a:gd name="connsiteX229" fmla="*/ 571201 w 1163264"/>
                  <a:gd name="connsiteY229" fmla="*/ 0 h 1238250"/>
                  <a:gd name="connsiteX230" fmla="*/ 589818 w 1163264"/>
                  <a:gd name="connsiteY230" fmla="*/ 15767 h 1238250"/>
                  <a:gd name="connsiteX231" fmla="*/ 633494 w 1163264"/>
                  <a:gd name="connsiteY231" fmla="*/ 21500 h 1238250"/>
                  <a:gd name="connsiteX232" fmla="*/ 654259 w 1163264"/>
                  <a:gd name="connsiteY232" fmla="*/ 10033 h 1238250"/>
                  <a:gd name="connsiteX233" fmla="*/ 700800 w 1163264"/>
                  <a:gd name="connsiteY233" fmla="*/ 44433 h 1238250"/>
                  <a:gd name="connsiteX234" fmla="*/ 696504 w 1163264"/>
                  <a:gd name="connsiteY234" fmla="*/ 66650 h 1238250"/>
                  <a:gd name="connsiteX235" fmla="*/ 708676 w 1163264"/>
                  <a:gd name="connsiteY235" fmla="*/ 88150 h 1238250"/>
                  <a:gd name="connsiteX236" fmla="*/ 715836 w 1163264"/>
                  <a:gd name="connsiteY236" fmla="*/ 109650 h 1238250"/>
                  <a:gd name="connsiteX237" fmla="*/ 717268 w 1163264"/>
                  <a:gd name="connsiteY237" fmla="*/ 111083 h 1238250"/>
                  <a:gd name="connsiteX238" fmla="*/ 735168 w 1163264"/>
                  <a:gd name="connsiteY238" fmla="*/ 121833 h 1238250"/>
                  <a:gd name="connsiteX239" fmla="*/ 735884 w 1163264"/>
                  <a:gd name="connsiteY239" fmla="*/ 143333 h 1238250"/>
                  <a:gd name="connsiteX240" fmla="*/ 729440 w 1163264"/>
                  <a:gd name="connsiteY240" fmla="*/ 179167 h 1238250"/>
                  <a:gd name="connsiteX241" fmla="*/ 707960 w 1163264"/>
                  <a:gd name="connsiteY241" fmla="*/ 186333 h 1238250"/>
                  <a:gd name="connsiteX242" fmla="*/ 677887 w 1163264"/>
                  <a:gd name="connsiteY242" fmla="*/ 227183 h 1238250"/>
                  <a:gd name="connsiteX243" fmla="*/ 677887 w 1163264"/>
                  <a:gd name="connsiteY243" fmla="*/ 250117 h 1238250"/>
                  <a:gd name="connsiteX244" fmla="*/ 652827 w 1163264"/>
                  <a:gd name="connsiteY244" fmla="*/ 264450 h 1238250"/>
                  <a:gd name="connsiteX245" fmla="*/ 626334 w 1163264"/>
                  <a:gd name="connsiteY245" fmla="*/ 273050 h 1238250"/>
                  <a:gd name="connsiteX246" fmla="*/ 609150 w 1163264"/>
                  <a:gd name="connsiteY246" fmla="*/ 257283 h 1238250"/>
                  <a:gd name="connsiteX247" fmla="*/ 559029 w 1163264"/>
                  <a:gd name="connsiteY247" fmla="*/ 250833 h 1238250"/>
                  <a:gd name="connsiteX248" fmla="*/ 538981 w 1163264"/>
                  <a:gd name="connsiteY248" fmla="*/ 262300 h 1238250"/>
                  <a:gd name="connsiteX249" fmla="*/ 493156 w 1163264"/>
                  <a:gd name="connsiteY249" fmla="*/ 227183 h 1238250"/>
                  <a:gd name="connsiteX250" fmla="*/ 498884 w 1163264"/>
                  <a:gd name="connsiteY250" fmla="*/ 204967 h 1238250"/>
                  <a:gd name="connsiteX251" fmla="*/ 488144 w 1163264"/>
                  <a:gd name="connsiteY251" fmla="*/ 184183 h 1238250"/>
                  <a:gd name="connsiteX252" fmla="*/ 487428 w 1163264"/>
                  <a:gd name="connsiteY252" fmla="*/ 182750 h 1238250"/>
                  <a:gd name="connsiteX253" fmla="*/ 480268 w 1163264"/>
                  <a:gd name="connsiteY253" fmla="*/ 160533 h 1238250"/>
                  <a:gd name="connsiteX254" fmla="*/ 470959 w 1163264"/>
                  <a:gd name="connsiteY254" fmla="*/ 154800 h 1238250"/>
                  <a:gd name="connsiteX255" fmla="*/ 460219 w 1163264"/>
                  <a:gd name="connsiteY255" fmla="*/ 149067 h 1238250"/>
                  <a:gd name="connsiteX256" fmla="*/ 468095 w 1163264"/>
                  <a:gd name="connsiteY256" fmla="*/ 89583 h 1238250"/>
                  <a:gd name="connsiteX257" fmla="*/ 490292 w 1163264"/>
                  <a:gd name="connsiteY257" fmla="*/ 82417 h 1238250"/>
                  <a:gd name="connsiteX258" fmla="*/ 517500 w 1163264"/>
                  <a:gd name="connsiteY258" fmla="*/ 47300 h 1238250"/>
                  <a:gd name="connsiteX259" fmla="*/ 517500 w 1163264"/>
                  <a:gd name="connsiteY259" fmla="*/ 23650 h 1238250"/>
                  <a:gd name="connsiteX260" fmla="*/ 543277 w 1163264"/>
                  <a:gd name="connsiteY260" fmla="*/ 9317 h 1238250"/>
                  <a:gd name="connsiteX261" fmla="*/ 571201 w 1163264"/>
                  <a:gd name="connsiteY261"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1163264" h="1238250">
                    <a:moveTo>
                      <a:pt x="1051630" y="384175"/>
                    </a:moveTo>
                    <a:cubicBezTo>
                      <a:pt x="1056621" y="407721"/>
                      <a:pt x="1065177" y="446964"/>
                      <a:pt x="1067316" y="469797"/>
                    </a:cubicBezTo>
                    <a:cubicBezTo>
                      <a:pt x="1068029" y="481926"/>
                      <a:pt x="1068742" y="497624"/>
                      <a:pt x="1068742" y="514034"/>
                    </a:cubicBezTo>
                    <a:cubicBezTo>
                      <a:pt x="1069455" y="539007"/>
                      <a:pt x="1070168" y="574683"/>
                      <a:pt x="1074446" y="584672"/>
                    </a:cubicBezTo>
                    <a:cubicBezTo>
                      <a:pt x="1083715" y="608218"/>
                      <a:pt x="1101540" y="640326"/>
                      <a:pt x="1122217" y="661018"/>
                    </a:cubicBezTo>
                    <a:cubicBezTo>
                      <a:pt x="1147172" y="686705"/>
                      <a:pt x="1169988" y="723094"/>
                      <a:pt x="1161432" y="743786"/>
                    </a:cubicBezTo>
                    <a:cubicBezTo>
                      <a:pt x="1155728" y="757342"/>
                      <a:pt x="1126495" y="789450"/>
                      <a:pt x="1059473" y="788023"/>
                    </a:cubicBezTo>
                    <a:cubicBezTo>
                      <a:pt x="1060899" y="807288"/>
                      <a:pt x="1062325" y="839396"/>
                      <a:pt x="1062325" y="872932"/>
                    </a:cubicBezTo>
                    <a:cubicBezTo>
                      <a:pt x="1062325" y="972110"/>
                      <a:pt x="1050204" y="997083"/>
                      <a:pt x="1040222" y="1007785"/>
                    </a:cubicBezTo>
                    <a:cubicBezTo>
                      <a:pt x="1030240" y="1018488"/>
                      <a:pt x="1005998" y="1031331"/>
                      <a:pt x="910456" y="1029904"/>
                    </a:cubicBezTo>
                    <a:cubicBezTo>
                      <a:pt x="884075" y="1029904"/>
                      <a:pt x="848425" y="1028477"/>
                      <a:pt x="826322" y="1026337"/>
                    </a:cubicBezTo>
                    <a:cubicBezTo>
                      <a:pt x="826322" y="1026337"/>
                      <a:pt x="826322" y="1026337"/>
                      <a:pt x="826322" y="1221839"/>
                    </a:cubicBezTo>
                    <a:cubicBezTo>
                      <a:pt x="826322" y="1230402"/>
                      <a:pt x="819905" y="1236823"/>
                      <a:pt x="811349" y="1237537"/>
                    </a:cubicBezTo>
                    <a:cubicBezTo>
                      <a:pt x="809923" y="1237537"/>
                      <a:pt x="801367" y="1238250"/>
                      <a:pt x="787820" y="1238250"/>
                    </a:cubicBezTo>
                    <a:cubicBezTo>
                      <a:pt x="736484" y="1238250"/>
                      <a:pt x="615986" y="1231115"/>
                      <a:pt x="518305" y="1172607"/>
                    </a:cubicBezTo>
                    <a:cubicBezTo>
                      <a:pt x="514027" y="1169753"/>
                      <a:pt x="511175" y="1164758"/>
                      <a:pt x="511175" y="1159050"/>
                    </a:cubicBezTo>
                    <a:cubicBezTo>
                      <a:pt x="511175" y="1159050"/>
                      <a:pt x="511175" y="1159050"/>
                      <a:pt x="511175" y="1076283"/>
                    </a:cubicBezTo>
                    <a:cubicBezTo>
                      <a:pt x="521870" y="1079850"/>
                      <a:pt x="532565" y="1082704"/>
                      <a:pt x="542547" y="1085558"/>
                    </a:cubicBezTo>
                    <a:cubicBezTo>
                      <a:pt x="542547" y="1085558"/>
                      <a:pt x="542547" y="1085558"/>
                      <a:pt x="542547" y="1149775"/>
                    </a:cubicBezTo>
                    <a:cubicBezTo>
                      <a:pt x="636663" y="1203288"/>
                      <a:pt x="755022" y="1206856"/>
                      <a:pt x="794950" y="1206856"/>
                    </a:cubicBezTo>
                    <a:cubicBezTo>
                      <a:pt x="794950" y="1206856"/>
                      <a:pt x="794950" y="1206856"/>
                      <a:pt x="794950" y="1009212"/>
                    </a:cubicBezTo>
                    <a:cubicBezTo>
                      <a:pt x="794950" y="1004218"/>
                      <a:pt x="797802" y="999223"/>
                      <a:pt x="802080" y="996369"/>
                    </a:cubicBezTo>
                    <a:cubicBezTo>
                      <a:pt x="805645" y="993515"/>
                      <a:pt x="810636" y="992802"/>
                      <a:pt x="814914" y="994229"/>
                    </a:cubicBezTo>
                    <a:cubicBezTo>
                      <a:pt x="821331" y="994942"/>
                      <a:pt x="866250" y="999223"/>
                      <a:pt x="914734" y="999223"/>
                    </a:cubicBezTo>
                    <a:cubicBezTo>
                      <a:pt x="1001720" y="999937"/>
                      <a:pt x="1015980" y="987807"/>
                      <a:pt x="1017406" y="986380"/>
                    </a:cubicBezTo>
                    <a:cubicBezTo>
                      <a:pt x="1018832" y="984953"/>
                      <a:pt x="1030953" y="969256"/>
                      <a:pt x="1030953" y="872932"/>
                    </a:cubicBezTo>
                    <a:cubicBezTo>
                      <a:pt x="1030953" y="821559"/>
                      <a:pt x="1027388" y="772326"/>
                      <a:pt x="1027388" y="772326"/>
                    </a:cubicBezTo>
                    <a:cubicBezTo>
                      <a:pt x="1026675" y="767332"/>
                      <a:pt x="1028814" y="763051"/>
                      <a:pt x="1031666" y="759483"/>
                    </a:cubicBezTo>
                    <a:cubicBezTo>
                      <a:pt x="1035231" y="756629"/>
                      <a:pt x="1040222" y="754488"/>
                      <a:pt x="1044500" y="755202"/>
                    </a:cubicBezTo>
                    <a:cubicBezTo>
                      <a:pt x="1102253" y="761623"/>
                      <a:pt x="1127208" y="740218"/>
                      <a:pt x="1132199" y="732369"/>
                    </a:cubicBezTo>
                    <a:cubicBezTo>
                      <a:pt x="1131486" y="725948"/>
                      <a:pt x="1122217" y="705256"/>
                      <a:pt x="1100114" y="683851"/>
                    </a:cubicBezTo>
                    <a:cubicBezTo>
                      <a:pt x="1070168" y="652456"/>
                      <a:pt x="1050917" y="608932"/>
                      <a:pt x="1045213" y="596088"/>
                    </a:cubicBezTo>
                    <a:cubicBezTo>
                      <a:pt x="1039509" y="581818"/>
                      <a:pt x="1038796" y="554705"/>
                      <a:pt x="1037370" y="514748"/>
                    </a:cubicBezTo>
                    <a:cubicBezTo>
                      <a:pt x="1037370" y="498337"/>
                      <a:pt x="1036657" y="484067"/>
                      <a:pt x="1035944" y="472651"/>
                    </a:cubicBezTo>
                    <a:cubicBezTo>
                      <a:pt x="1034518" y="459094"/>
                      <a:pt x="1030953" y="437689"/>
                      <a:pt x="1027388" y="419137"/>
                    </a:cubicBezTo>
                    <a:cubicBezTo>
                      <a:pt x="1035944" y="407721"/>
                      <a:pt x="1043787" y="395591"/>
                      <a:pt x="1051630" y="384175"/>
                    </a:cubicBezTo>
                    <a:close/>
                    <a:moveTo>
                      <a:pt x="236181" y="147637"/>
                    </a:moveTo>
                    <a:cubicBezTo>
                      <a:pt x="289778" y="147637"/>
                      <a:pt x="334085" y="184679"/>
                      <a:pt x="344805" y="234543"/>
                    </a:cubicBezTo>
                    <a:cubicBezTo>
                      <a:pt x="346949" y="242378"/>
                      <a:pt x="347663" y="250214"/>
                      <a:pt x="347663" y="258762"/>
                    </a:cubicBezTo>
                    <a:cubicBezTo>
                      <a:pt x="347663" y="265173"/>
                      <a:pt x="346949" y="270872"/>
                      <a:pt x="346234" y="277283"/>
                    </a:cubicBezTo>
                    <a:cubicBezTo>
                      <a:pt x="340517" y="313612"/>
                      <a:pt x="316220" y="344955"/>
                      <a:pt x="282632" y="359914"/>
                    </a:cubicBezTo>
                    <a:cubicBezTo>
                      <a:pt x="270483" y="365613"/>
                      <a:pt x="256905" y="369175"/>
                      <a:pt x="241898" y="369887"/>
                    </a:cubicBezTo>
                    <a:cubicBezTo>
                      <a:pt x="239754" y="369887"/>
                      <a:pt x="238325" y="369887"/>
                      <a:pt x="236181" y="369887"/>
                    </a:cubicBezTo>
                    <a:cubicBezTo>
                      <a:pt x="175437" y="369887"/>
                      <a:pt x="125413" y="320023"/>
                      <a:pt x="125413" y="258762"/>
                    </a:cubicBezTo>
                    <a:cubicBezTo>
                      <a:pt x="125413" y="197501"/>
                      <a:pt x="175437" y="147637"/>
                      <a:pt x="236181" y="147637"/>
                    </a:cubicBezTo>
                    <a:close/>
                    <a:moveTo>
                      <a:pt x="766041" y="144462"/>
                    </a:moveTo>
                    <a:cubicBezTo>
                      <a:pt x="977389" y="163034"/>
                      <a:pt x="1065212" y="266610"/>
                      <a:pt x="1055216" y="315183"/>
                    </a:cubicBezTo>
                    <a:cubicBezTo>
                      <a:pt x="1048076" y="328041"/>
                      <a:pt x="1040936" y="340184"/>
                      <a:pt x="1033082" y="352327"/>
                    </a:cubicBezTo>
                    <a:cubicBezTo>
                      <a:pt x="1027370" y="360185"/>
                      <a:pt x="1022371" y="368042"/>
                      <a:pt x="1016659" y="375900"/>
                    </a:cubicBezTo>
                    <a:cubicBezTo>
                      <a:pt x="836728" y="630910"/>
                      <a:pt x="481150" y="773058"/>
                      <a:pt x="481150" y="773058"/>
                    </a:cubicBezTo>
                    <a:cubicBezTo>
                      <a:pt x="419030" y="918064"/>
                      <a:pt x="624666" y="1037354"/>
                      <a:pt x="604674" y="1060926"/>
                    </a:cubicBezTo>
                    <a:cubicBezTo>
                      <a:pt x="601104" y="1065212"/>
                      <a:pt x="576113" y="1063069"/>
                      <a:pt x="539699" y="1053069"/>
                    </a:cubicBezTo>
                    <a:cubicBezTo>
                      <a:pt x="532559" y="1050926"/>
                      <a:pt x="525418" y="1048783"/>
                      <a:pt x="517564" y="1045926"/>
                    </a:cubicBezTo>
                    <a:cubicBezTo>
                      <a:pt x="376903" y="998067"/>
                      <a:pt x="126999" y="843061"/>
                      <a:pt x="222676" y="508762"/>
                    </a:cubicBezTo>
                    <a:cubicBezTo>
                      <a:pt x="222676" y="508762"/>
                      <a:pt x="222676" y="508762"/>
                      <a:pt x="236957" y="492333"/>
                    </a:cubicBezTo>
                    <a:cubicBezTo>
                      <a:pt x="236957" y="492333"/>
                      <a:pt x="236957" y="492333"/>
                      <a:pt x="267659" y="528048"/>
                    </a:cubicBezTo>
                    <a:cubicBezTo>
                      <a:pt x="267659" y="528048"/>
                      <a:pt x="267659" y="528048"/>
                      <a:pt x="295506" y="521620"/>
                    </a:cubicBezTo>
                    <a:cubicBezTo>
                      <a:pt x="311214" y="518048"/>
                      <a:pt x="327636" y="511619"/>
                      <a:pt x="328350" y="511619"/>
                    </a:cubicBezTo>
                    <a:cubicBezTo>
                      <a:pt x="329778" y="510905"/>
                      <a:pt x="346201" y="505190"/>
                      <a:pt x="360481" y="497333"/>
                    </a:cubicBezTo>
                    <a:cubicBezTo>
                      <a:pt x="360481" y="497333"/>
                      <a:pt x="360481" y="497333"/>
                      <a:pt x="386185" y="484475"/>
                    </a:cubicBezTo>
                    <a:cubicBezTo>
                      <a:pt x="386185" y="484475"/>
                      <a:pt x="386185" y="484475"/>
                      <a:pt x="386899" y="437331"/>
                    </a:cubicBezTo>
                    <a:cubicBezTo>
                      <a:pt x="386899" y="437331"/>
                      <a:pt x="386899" y="437331"/>
                      <a:pt x="433310" y="445188"/>
                    </a:cubicBezTo>
                    <a:cubicBezTo>
                      <a:pt x="433310" y="445188"/>
                      <a:pt x="433310" y="445188"/>
                      <a:pt x="450447" y="422330"/>
                    </a:cubicBezTo>
                    <a:cubicBezTo>
                      <a:pt x="459015" y="410187"/>
                      <a:pt x="467583" y="395186"/>
                      <a:pt x="469011" y="393043"/>
                    </a:cubicBezTo>
                    <a:cubicBezTo>
                      <a:pt x="469725" y="391615"/>
                      <a:pt x="478294" y="376614"/>
                      <a:pt x="484720" y="362328"/>
                    </a:cubicBezTo>
                    <a:cubicBezTo>
                      <a:pt x="484720" y="362328"/>
                      <a:pt x="484720" y="362328"/>
                      <a:pt x="496144" y="335898"/>
                    </a:cubicBezTo>
                    <a:cubicBezTo>
                      <a:pt x="496144" y="335898"/>
                      <a:pt x="496144" y="335898"/>
                      <a:pt x="468297" y="301611"/>
                    </a:cubicBezTo>
                    <a:cubicBezTo>
                      <a:pt x="468297" y="300182"/>
                      <a:pt x="468297" y="298754"/>
                      <a:pt x="469011" y="298040"/>
                    </a:cubicBezTo>
                    <a:cubicBezTo>
                      <a:pt x="469011" y="298040"/>
                      <a:pt x="469011" y="298040"/>
                      <a:pt x="504712" y="276610"/>
                    </a:cubicBezTo>
                    <a:cubicBezTo>
                      <a:pt x="511138" y="280896"/>
                      <a:pt x="518278" y="285182"/>
                      <a:pt x="526132" y="289468"/>
                    </a:cubicBezTo>
                    <a:cubicBezTo>
                      <a:pt x="526132" y="289468"/>
                      <a:pt x="526132" y="289468"/>
                      <a:pt x="541127" y="296611"/>
                    </a:cubicBezTo>
                    <a:cubicBezTo>
                      <a:pt x="541127" y="296611"/>
                      <a:pt x="541127" y="296611"/>
                      <a:pt x="563975" y="283039"/>
                    </a:cubicBezTo>
                    <a:cubicBezTo>
                      <a:pt x="574685" y="285896"/>
                      <a:pt x="586110" y="287325"/>
                      <a:pt x="596820" y="287325"/>
                    </a:cubicBezTo>
                    <a:cubicBezTo>
                      <a:pt x="596820" y="287325"/>
                      <a:pt x="596820" y="287325"/>
                      <a:pt x="617526" y="305897"/>
                    </a:cubicBezTo>
                    <a:cubicBezTo>
                      <a:pt x="617526" y="305897"/>
                      <a:pt x="617526" y="305897"/>
                      <a:pt x="633234" y="301611"/>
                    </a:cubicBezTo>
                    <a:cubicBezTo>
                      <a:pt x="643945" y="299468"/>
                      <a:pt x="654655" y="295897"/>
                      <a:pt x="663937" y="292325"/>
                    </a:cubicBezTo>
                    <a:cubicBezTo>
                      <a:pt x="663937" y="292325"/>
                      <a:pt x="663937" y="292325"/>
                      <a:pt x="665365" y="291611"/>
                    </a:cubicBezTo>
                    <a:cubicBezTo>
                      <a:pt x="665365" y="291611"/>
                      <a:pt x="665365" y="291611"/>
                      <a:pt x="666793" y="290896"/>
                    </a:cubicBezTo>
                    <a:cubicBezTo>
                      <a:pt x="676075" y="286611"/>
                      <a:pt x="685357" y="281610"/>
                      <a:pt x="694640" y="275181"/>
                    </a:cubicBezTo>
                    <a:cubicBezTo>
                      <a:pt x="694640" y="275181"/>
                      <a:pt x="694640" y="275181"/>
                      <a:pt x="708206" y="265895"/>
                    </a:cubicBezTo>
                    <a:cubicBezTo>
                      <a:pt x="708206" y="265895"/>
                      <a:pt x="708206" y="265895"/>
                      <a:pt x="708206" y="238752"/>
                    </a:cubicBezTo>
                    <a:cubicBezTo>
                      <a:pt x="716060" y="230180"/>
                      <a:pt x="722486" y="220894"/>
                      <a:pt x="728198" y="210893"/>
                    </a:cubicBezTo>
                    <a:cubicBezTo>
                      <a:pt x="728198" y="210893"/>
                      <a:pt x="728198" y="210893"/>
                      <a:pt x="752475" y="203750"/>
                    </a:cubicBezTo>
                    <a:cubicBezTo>
                      <a:pt x="752475" y="203750"/>
                      <a:pt x="752475" y="203750"/>
                      <a:pt x="757473" y="188750"/>
                    </a:cubicBezTo>
                    <a:cubicBezTo>
                      <a:pt x="762471" y="174463"/>
                      <a:pt x="765327" y="159463"/>
                      <a:pt x="766041" y="144462"/>
                    </a:cubicBezTo>
                    <a:close/>
                    <a:moveTo>
                      <a:pt x="597001" y="75928"/>
                    </a:moveTo>
                    <a:cubicBezTo>
                      <a:pt x="589026" y="75950"/>
                      <a:pt x="580895" y="77434"/>
                      <a:pt x="573031" y="80491"/>
                    </a:cubicBezTo>
                    <a:cubicBezTo>
                      <a:pt x="552301" y="89842"/>
                      <a:pt x="539434" y="109984"/>
                      <a:pt x="537289" y="131564"/>
                    </a:cubicBezTo>
                    <a:cubicBezTo>
                      <a:pt x="536574" y="141635"/>
                      <a:pt x="538004" y="150986"/>
                      <a:pt x="542293" y="161057"/>
                    </a:cubicBezTo>
                    <a:cubicBezTo>
                      <a:pt x="543008" y="161776"/>
                      <a:pt x="543008" y="162495"/>
                      <a:pt x="543723" y="163215"/>
                    </a:cubicBezTo>
                    <a:cubicBezTo>
                      <a:pt x="557305" y="192708"/>
                      <a:pt x="592332" y="206375"/>
                      <a:pt x="622355" y="192708"/>
                    </a:cubicBezTo>
                    <a:cubicBezTo>
                      <a:pt x="642371" y="184076"/>
                      <a:pt x="655238" y="164653"/>
                      <a:pt x="657383" y="143793"/>
                    </a:cubicBezTo>
                    <a:cubicBezTo>
                      <a:pt x="658812" y="133722"/>
                      <a:pt x="657383" y="122932"/>
                      <a:pt x="653094" y="112142"/>
                    </a:cubicBezTo>
                    <a:cubicBezTo>
                      <a:pt x="643443" y="88943"/>
                      <a:pt x="620926" y="75860"/>
                      <a:pt x="597001" y="75928"/>
                    </a:cubicBezTo>
                    <a:close/>
                    <a:moveTo>
                      <a:pt x="236538" y="52387"/>
                    </a:moveTo>
                    <a:cubicBezTo>
                      <a:pt x="236538" y="52387"/>
                      <a:pt x="227975" y="52387"/>
                      <a:pt x="218699" y="53101"/>
                    </a:cubicBezTo>
                    <a:cubicBezTo>
                      <a:pt x="218699" y="53101"/>
                      <a:pt x="218699" y="53101"/>
                      <a:pt x="202288" y="96670"/>
                    </a:cubicBezTo>
                    <a:cubicBezTo>
                      <a:pt x="202288" y="96670"/>
                      <a:pt x="202288" y="96670"/>
                      <a:pt x="195152" y="98812"/>
                    </a:cubicBezTo>
                    <a:cubicBezTo>
                      <a:pt x="185162" y="100955"/>
                      <a:pt x="175173" y="104526"/>
                      <a:pt x="165897" y="108812"/>
                    </a:cubicBezTo>
                    <a:cubicBezTo>
                      <a:pt x="165897" y="108812"/>
                      <a:pt x="165897" y="108812"/>
                      <a:pt x="158761" y="111669"/>
                    </a:cubicBezTo>
                    <a:cubicBezTo>
                      <a:pt x="158761" y="111669"/>
                      <a:pt x="158761" y="111669"/>
                      <a:pt x="119516" y="89527"/>
                    </a:cubicBezTo>
                    <a:cubicBezTo>
                      <a:pt x="111667" y="95241"/>
                      <a:pt x="105245" y="100955"/>
                      <a:pt x="105245" y="100955"/>
                    </a:cubicBezTo>
                    <a:cubicBezTo>
                      <a:pt x="105245" y="100955"/>
                      <a:pt x="98110" y="106669"/>
                      <a:pt x="91688" y="113097"/>
                    </a:cubicBezTo>
                    <a:cubicBezTo>
                      <a:pt x="91688" y="113097"/>
                      <a:pt x="91688" y="113097"/>
                      <a:pt x="105245" y="152380"/>
                    </a:cubicBezTo>
                    <a:cubicBezTo>
                      <a:pt x="105245" y="152380"/>
                      <a:pt x="105245" y="152380"/>
                      <a:pt x="100251" y="158808"/>
                    </a:cubicBezTo>
                    <a:cubicBezTo>
                      <a:pt x="92402" y="169522"/>
                      <a:pt x="85266" y="180235"/>
                      <a:pt x="80271" y="191663"/>
                    </a:cubicBezTo>
                    <a:cubicBezTo>
                      <a:pt x="80271" y="191663"/>
                      <a:pt x="80271" y="191663"/>
                      <a:pt x="76704" y="198805"/>
                    </a:cubicBezTo>
                    <a:cubicBezTo>
                      <a:pt x="76704" y="198805"/>
                      <a:pt x="76704" y="198805"/>
                      <a:pt x="38172" y="205948"/>
                    </a:cubicBezTo>
                    <a:cubicBezTo>
                      <a:pt x="36032" y="215233"/>
                      <a:pt x="34604" y="223089"/>
                      <a:pt x="34604" y="223804"/>
                    </a:cubicBezTo>
                    <a:cubicBezTo>
                      <a:pt x="34604" y="223804"/>
                      <a:pt x="33177" y="231660"/>
                      <a:pt x="31750" y="241660"/>
                    </a:cubicBezTo>
                    <a:cubicBezTo>
                      <a:pt x="31750" y="241660"/>
                      <a:pt x="31750" y="241660"/>
                      <a:pt x="64573" y="260230"/>
                    </a:cubicBezTo>
                    <a:cubicBezTo>
                      <a:pt x="64573" y="260230"/>
                      <a:pt x="64573" y="260230"/>
                      <a:pt x="64573" y="268800"/>
                    </a:cubicBezTo>
                    <a:cubicBezTo>
                      <a:pt x="65287" y="282371"/>
                      <a:pt x="68141" y="295941"/>
                      <a:pt x="71709" y="308798"/>
                    </a:cubicBezTo>
                    <a:cubicBezTo>
                      <a:pt x="71709" y="308798"/>
                      <a:pt x="71709" y="308798"/>
                      <a:pt x="74563" y="316654"/>
                    </a:cubicBezTo>
                    <a:cubicBezTo>
                      <a:pt x="74563" y="316654"/>
                      <a:pt x="74563" y="316654"/>
                      <a:pt x="50302" y="346652"/>
                    </a:cubicBezTo>
                    <a:cubicBezTo>
                      <a:pt x="54584" y="354509"/>
                      <a:pt x="58865" y="362365"/>
                      <a:pt x="58865" y="362365"/>
                    </a:cubicBezTo>
                    <a:cubicBezTo>
                      <a:pt x="58865" y="362365"/>
                      <a:pt x="63146" y="369508"/>
                      <a:pt x="68141" y="377364"/>
                    </a:cubicBezTo>
                    <a:cubicBezTo>
                      <a:pt x="68141" y="377364"/>
                      <a:pt x="68141" y="377364"/>
                      <a:pt x="108100" y="370936"/>
                    </a:cubicBezTo>
                    <a:cubicBezTo>
                      <a:pt x="108100" y="370936"/>
                      <a:pt x="108100" y="370936"/>
                      <a:pt x="113808" y="376650"/>
                    </a:cubicBezTo>
                    <a:cubicBezTo>
                      <a:pt x="122370" y="385221"/>
                      <a:pt x="132360" y="392363"/>
                      <a:pt x="142350" y="398791"/>
                    </a:cubicBezTo>
                    <a:cubicBezTo>
                      <a:pt x="142350" y="398791"/>
                      <a:pt x="142350" y="398791"/>
                      <a:pt x="149485" y="403791"/>
                    </a:cubicBezTo>
                    <a:cubicBezTo>
                      <a:pt x="149485" y="403791"/>
                      <a:pt x="149485" y="403791"/>
                      <a:pt x="150199" y="445931"/>
                    </a:cubicBezTo>
                    <a:cubicBezTo>
                      <a:pt x="158761" y="450216"/>
                      <a:pt x="166610" y="453073"/>
                      <a:pt x="166610" y="453073"/>
                    </a:cubicBezTo>
                    <a:cubicBezTo>
                      <a:pt x="166610" y="453073"/>
                      <a:pt x="174459" y="455930"/>
                      <a:pt x="183735" y="458787"/>
                    </a:cubicBezTo>
                    <a:cubicBezTo>
                      <a:pt x="183735" y="458787"/>
                      <a:pt x="183735" y="458787"/>
                      <a:pt x="212277" y="424504"/>
                    </a:cubicBezTo>
                    <a:cubicBezTo>
                      <a:pt x="212277" y="424504"/>
                      <a:pt x="212277" y="424504"/>
                      <a:pt x="218699" y="425218"/>
                    </a:cubicBezTo>
                    <a:cubicBezTo>
                      <a:pt x="218699" y="425218"/>
                      <a:pt x="218699" y="425218"/>
                      <a:pt x="220126" y="425218"/>
                    </a:cubicBezTo>
                    <a:cubicBezTo>
                      <a:pt x="230829" y="426647"/>
                      <a:pt x="241533" y="426647"/>
                      <a:pt x="252236" y="425218"/>
                    </a:cubicBezTo>
                    <a:cubicBezTo>
                      <a:pt x="252236" y="425218"/>
                      <a:pt x="252236" y="425218"/>
                      <a:pt x="252949" y="425218"/>
                    </a:cubicBezTo>
                    <a:cubicBezTo>
                      <a:pt x="252949" y="425218"/>
                      <a:pt x="252949" y="425218"/>
                      <a:pt x="260798" y="424504"/>
                    </a:cubicBezTo>
                    <a:cubicBezTo>
                      <a:pt x="260798" y="424504"/>
                      <a:pt x="260798" y="424504"/>
                      <a:pt x="289340" y="458787"/>
                    </a:cubicBezTo>
                    <a:cubicBezTo>
                      <a:pt x="298616" y="455930"/>
                      <a:pt x="306465" y="453073"/>
                      <a:pt x="306465" y="453073"/>
                    </a:cubicBezTo>
                    <a:cubicBezTo>
                      <a:pt x="307179" y="453073"/>
                      <a:pt x="315028" y="450216"/>
                      <a:pt x="323590" y="445931"/>
                    </a:cubicBezTo>
                    <a:cubicBezTo>
                      <a:pt x="323590" y="445931"/>
                      <a:pt x="323590" y="445931"/>
                      <a:pt x="323590" y="403791"/>
                    </a:cubicBezTo>
                    <a:cubicBezTo>
                      <a:pt x="323590" y="403791"/>
                      <a:pt x="323590" y="403791"/>
                      <a:pt x="331439" y="399506"/>
                    </a:cubicBezTo>
                    <a:cubicBezTo>
                      <a:pt x="341429" y="392363"/>
                      <a:pt x="350705" y="385221"/>
                      <a:pt x="359981" y="376650"/>
                    </a:cubicBezTo>
                    <a:cubicBezTo>
                      <a:pt x="359981" y="376650"/>
                      <a:pt x="359981" y="376650"/>
                      <a:pt x="365689" y="370936"/>
                    </a:cubicBezTo>
                    <a:cubicBezTo>
                      <a:pt x="365689" y="370936"/>
                      <a:pt x="365689" y="370936"/>
                      <a:pt x="404934" y="378079"/>
                    </a:cubicBezTo>
                    <a:cubicBezTo>
                      <a:pt x="410643" y="370222"/>
                      <a:pt x="414924" y="362365"/>
                      <a:pt x="414924" y="362365"/>
                    </a:cubicBezTo>
                    <a:cubicBezTo>
                      <a:pt x="414924" y="362365"/>
                      <a:pt x="419205" y="355223"/>
                      <a:pt x="422773" y="346652"/>
                    </a:cubicBezTo>
                    <a:cubicBezTo>
                      <a:pt x="422773" y="346652"/>
                      <a:pt x="422773" y="346652"/>
                      <a:pt x="399226" y="317369"/>
                    </a:cubicBezTo>
                    <a:cubicBezTo>
                      <a:pt x="399226" y="317369"/>
                      <a:pt x="399226" y="317369"/>
                      <a:pt x="402080" y="309512"/>
                    </a:cubicBezTo>
                    <a:cubicBezTo>
                      <a:pt x="405648" y="295941"/>
                      <a:pt x="408502" y="282371"/>
                      <a:pt x="409216" y="268800"/>
                    </a:cubicBezTo>
                    <a:cubicBezTo>
                      <a:pt x="409216" y="268800"/>
                      <a:pt x="409216" y="268800"/>
                      <a:pt x="409929" y="260230"/>
                    </a:cubicBezTo>
                    <a:cubicBezTo>
                      <a:pt x="409929" y="260230"/>
                      <a:pt x="409929" y="260230"/>
                      <a:pt x="441325" y="241660"/>
                    </a:cubicBezTo>
                    <a:cubicBezTo>
                      <a:pt x="440612" y="232374"/>
                      <a:pt x="439185" y="223804"/>
                      <a:pt x="439185" y="223804"/>
                    </a:cubicBezTo>
                    <a:cubicBezTo>
                      <a:pt x="439185" y="223804"/>
                      <a:pt x="437758" y="216661"/>
                      <a:pt x="436330" y="208805"/>
                    </a:cubicBezTo>
                    <a:cubicBezTo>
                      <a:pt x="435617" y="208090"/>
                      <a:pt x="435617" y="206662"/>
                      <a:pt x="435617" y="205948"/>
                    </a:cubicBezTo>
                    <a:cubicBezTo>
                      <a:pt x="435617" y="205948"/>
                      <a:pt x="435617" y="205948"/>
                      <a:pt x="397085" y="198805"/>
                    </a:cubicBezTo>
                    <a:cubicBezTo>
                      <a:pt x="397085" y="198805"/>
                      <a:pt x="397085" y="198805"/>
                      <a:pt x="396372" y="196663"/>
                    </a:cubicBezTo>
                    <a:cubicBezTo>
                      <a:pt x="396372" y="196663"/>
                      <a:pt x="396372" y="196663"/>
                      <a:pt x="394231" y="191663"/>
                    </a:cubicBezTo>
                    <a:cubicBezTo>
                      <a:pt x="388523" y="180235"/>
                      <a:pt x="382101" y="169522"/>
                      <a:pt x="374252" y="158808"/>
                    </a:cubicBezTo>
                    <a:cubicBezTo>
                      <a:pt x="374252" y="158808"/>
                      <a:pt x="374252" y="158808"/>
                      <a:pt x="368544" y="152380"/>
                    </a:cubicBezTo>
                    <a:cubicBezTo>
                      <a:pt x="368544" y="152380"/>
                      <a:pt x="368544" y="152380"/>
                      <a:pt x="382101" y="113097"/>
                    </a:cubicBezTo>
                    <a:cubicBezTo>
                      <a:pt x="375679" y="106669"/>
                      <a:pt x="369257" y="100955"/>
                      <a:pt x="368544" y="100955"/>
                    </a:cubicBezTo>
                    <a:cubicBezTo>
                      <a:pt x="368544" y="100955"/>
                      <a:pt x="362122" y="95241"/>
                      <a:pt x="354986" y="89527"/>
                    </a:cubicBezTo>
                    <a:cubicBezTo>
                      <a:pt x="354986" y="89527"/>
                      <a:pt x="354986" y="89527"/>
                      <a:pt x="315741" y="111669"/>
                    </a:cubicBezTo>
                    <a:cubicBezTo>
                      <a:pt x="315741" y="111669"/>
                      <a:pt x="315741" y="111669"/>
                      <a:pt x="308606" y="108812"/>
                    </a:cubicBezTo>
                    <a:cubicBezTo>
                      <a:pt x="298616" y="104526"/>
                      <a:pt x="289340" y="100955"/>
                      <a:pt x="279350" y="98812"/>
                    </a:cubicBezTo>
                    <a:cubicBezTo>
                      <a:pt x="279350" y="98812"/>
                      <a:pt x="279350" y="98812"/>
                      <a:pt x="270788" y="96670"/>
                    </a:cubicBezTo>
                    <a:cubicBezTo>
                      <a:pt x="270788" y="96670"/>
                      <a:pt x="270788" y="96670"/>
                      <a:pt x="254376" y="53101"/>
                    </a:cubicBezTo>
                    <a:cubicBezTo>
                      <a:pt x="245100" y="52387"/>
                      <a:pt x="236538" y="52387"/>
                      <a:pt x="236538" y="52387"/>
                    </a:cubicBezTo>
                    <a:close/>
                    <a:moveTo>
                      <a:pt x="236975" y="22225"/>
                    </a:moveTo>
                    <a:cubicBezTo>
                      <a:pt x="237689" y="22225"/>
                      <a:pt x="254106" y="22225"/>
                      <a:pt x="268381" y="24362"/>
                    </a:cubicBezTo>
                    <a:cubicBezTo>
                      <a:pt x="268381" y="24362"/>
                      <a:pt x="268381" y="24362"/>
                      <a:pt x="277660" y="25074"/>
                    </a:cubicBezTo>
                    <a:cubicBezTo>
                      <a:pt x="277660" y="25074"/>
                      <a:pt x="277660" y="25074"/>
                      <a:pt x="294791" y="71368"/>
                    </a:cubicBezTo>
                    <a:cubicBezTo>
                      <a:pt x="301215" y="73505"/>
                      <a:pt x="307639" y="75641"/>
                      <a:pt x="314063" y="77778"/>
                    </a:cubicBezTo>
                    <a:cubicBezTo>
                      <a:pt x="314063" y="77778"/>
                      <a:pt x="314063" y="77778"/>
                      <a:pt x="356890" y="54275"/>
                    </a:cubicBezTo>
                    <a:cubicBezTo>
                      <a:pt x="356890" y="54275"/>
                      <a:pt x="356890" y="54275"/>
                      <a:pt x="364741" y="59260"/>
                    </a:cubicBezTo>
                    <a:cubicBezTo>
                      <a:pt x="376162" y="67095"/>
                      <a:pt x="389010" y="77778"/>
                      <a:pt x="389724" y="77778"/>
                    </a:cubicBezTo>
                    <a:cubicBezTo>
                      <a:pt x="389724" y="78490"/>
                      <a:pt x="402572" y="89174"/>
                      <a:pt x="412564" y="99145"/>
                    </a:cubicBezTo>
                    <a:cubicBezTo>
                      <a:pt x="412564" y="99145"/>
                      <a:pt x="412564" y="99145"/>
                      <a:pt x="418988" y="106267"/>
                    </a:cubicBezTo>
                    <a:cubicBezTo>
                      <a:pt x="418988" y="106267"/>
                      <a:pt x="418988" y="106267"/>
                      <a:pt x="403999" y="147575"/>
                    </a:cubicBezTo>
                    <a:cubicBezTo>
                      <a:pt x="409709" y="154698"/>
                      <a:pt x="414706" y="162532"/>
                      <a:pt x="418988" y="171791"/>
                    </a:cubicBezTo>
                    <a:cubicBezTo>
                      <a:pt x="418988" y="171791"/>
                      <a:pt x="418988" y="171791"/>
                      <a:pt x="433978" y="174640"/>
                    </a:cubicBezTo>
                    <a:cubicBezTo>
                      <a:pt x="433978" y="174640"/>
                      <a:pt x="433978" y="174640"/>
                      <a:pt x="461101" y="179625"/>
                    </a:cubicBezTo>
                    <a:cubicBezTo>
                      <a:pt x="461101" y="179625"/>
                      <a:pt x="461101" y="179625"/>
                      <a:pt x="463243" y="188884"/>
                    </a:cubicBezTo>
                    <a:cubicBezTo>
                      <a:pt x="463957" y="190308"/>
                      <a:pt x="464670" y="192445"/>
                      <a:pt x="464670" y="193870"/>
                    </a:cubicBezTo>
                    <a:cubicBezTo>
                      <a:pt x="468239" y="205977"/>
                      <a:pt x="470381" y="218085"/>
                      <a:pt x="470381" y="218797"/>
                    </a:cubicBezTo>
                    <a:cubicBezTo>
                      <a:pt x="470381" y="219509"/>
                      <a:pt x="473236" y="235890"/>
                      <a:pt x="474663" y="250135"/>
                    </a:cubicBezTo>
                    <a:cubicBezTo>
                      <a:pt x="474663" y="250135"/>
                      <a:pt x="474663" y="250135"/>
                      <a:pt x="474663" y="259394"/>
                    </a:cubicBezTo>
                    <a:cubicBezTo>
                      <a:pt x="474663" y="259394"/>
                      <a:pt x="474663" y="259394"/>
                      <a:pt x="440402" y="279336"/>
                    </a:cubicBezTo>
                    <a:cubicBezTo>
                      <a:pt x="439688" y="290019"/>
                      <a:pt x="437547" y="300702"/>
                      <a:pt x="434692" y="310673"/>
                    </a:cubicBezTo>
                    <a:cubicBezTo>
                      <a:pt x="434692" y="310673"/>
                      <a:pt x="434692" y="310673"/>
                      <a:pt x="460388" y="342011"/>
                    </a:cubicBezTo>
                    <a:cubicBezTo>
                      <a:pt x="460388" y="342011"/>
                      <a:pt x="460388" y="342011"/>
                      <a:pt x="456105" y="350557"/>
                    </a:cubicBezTo>
                    <a:cubicBezTo>
                      <a:pt x="451109" y="363377"/>
                      <a:pt x="442543" y="377622"/>
                      <a:pt x="442543" y="378334"/>
                    </a:cubicBezTo>
                    <a:cubicBezTo>
                      <a:pt x="441829" y="379046"/>
                      <a:pt x="433978" y="393290"/>
                      <a:pt x="425412" y="404686"/>
                    </a:cubicBezTo>
                    <a:cubicBezTo>
                      <a:pt x="425412" y="404686"/>
                      <a:pt x="425412" y="404686"/>
                      <a:pt x="419702" y="411808"/>
                    </a:cubicBezTo>
                    <a:cubicBezTo>
                      <a:pt x="419702" y="411808"/>
                      <a:pt x="419702" y="411808"/>
                      <a:pt x="376162" y="404686"/>
                    </a:cubicBezTo>
                    <a:cubicBezTo>
                      <a:pt x="369738" y="411096"/>
                      <a:pt x="362600" y="416081"/>
                      <a:pt x="355462" y="421067"/>
                    </a:cubicBezTo>
                    <a:cubicBezTo>
                      <a:pt x="355462" y="421067"/>
                      <a:pt x="355462" y="421067"/>
                      <a:pt x="354748" y="465937"/>
                    </a:cubicBezTo>
                    <a:cubicBezTo>
                      <a:pt x="354748" y="465937"/>
                      <a:pt x="354748" y="465937"/>
                      <a:pt x="346897" y="470210"/>
                    </a:cubicBezTo>
                    <a:cubicBezTo>
                      <a:pt x="334049" y="476620"/>
                      <a:pt x="318346" y="482318"/>
                      <a:pt x="317632" y="482318"/>
                    </a:cubicBezTo>
                    <a:cubicBezTo>
                      <a:pt x="317632" y="483030"/>
                      <a:pt x="301929" y="488015"/>
                      <a:pt x="288367" y="491576"/>
                    </a:cubicBezTo>
                    <a:cubicBezTo>
                      <a:pt x="288367" y="491576"/>
                      <a:pt x="288367" y="491576"/>
                      <a:pt x="279088" y="493713"/>
                    </a:cubicBezTo>
                    <a:cubicBezTo>
                      <a:pt x="279088" y="493713"/>
                      <a:pt x="279088" y="493713"/>
                      <a:pt x="247682" y="457390"/>
                    </a:cubicBezTo>
                    <a:cubicBezTo>
                      <a:pt x="244826" y="457390"/>
                      <a:pt x="242685" y="457390"/>
                      <a:pt x="239830" y="457390"/>
                    </a:cubicBezTo>
                    <a:cubicBezTo>
                      <a:pt x="235547" y="457390"/>
                      <a:pt x="230551" y="457390"/>
                      <a:pt x="225554" y="457390"/>
                    </a:cubicBezTo>
                    <a:cubicBezTo>
                      <a:pt x="225554" y="457390"/>
                      <a:pt x="225554" y="457390"/>
                      <a:pt x="195576" y="493713"/>
                    </a:cubicBezTo>
                    <a:cubicBezTo>
                      <a:pt x="195576" y="493713"/>
                      <a:pt x="195576" y="493713"/>
                      <a:pt x="186297" y="491576"/>
                    </a:cubicBezTo>
                    <a:cubicBezTo>
                      <a:pt x="172735" y="488015"/>
                      <a:pt x="157032" y="482318"/>
                      <a:pt x="156318" y="482318"/>
                    </a:cubicBezTo>
                    <a:cubicBezTo>
                      <a:pt x="155604" y="482318"/>
                      <a:pt x="140615" y="476620"/>
                      <a:pt x="127767" y="470210"/>
                    </a:cubicBezTo>
                    <a:cubicBezTo>
                      <a:pt x="127767" y="470210"/>
                      <a:pt x="127767" y="470210"/>
                      <a:pt x="119201" y="465937"/>
                    </a:cubicBezTo>
                    <a:cubicBezTo>
                      <a:pt x="119201" y="465937"/>
                      <a:pt x="119201" y="465937"/>
                      <a:pt x="118488" y="421067"/>
                    </a:cubicBezTo>
                    <a:cubicBezTo>
                      <a:pt x="111350" y="416081"/>
                      <a:pt x="104926" y="410384"/>
                      <a:pt x="98502" y="404686"/>
                    </a:cubicBezTo>
                    <a:cubicBezTo>
                      <a:pt x="98502" y="404686"/>
                      <a:pt x="98502" y="404686"/>
                      <a:pt x="54961" y="411808"/>
                    </a:cubicBezTo>
                    <a:cubicBezTo>
                      <a:pt x="54961" y="411808"/>
                      <a:pt x="54961" y="411808"/>
                      <a:pt x="49251" y="403974"/>
                    </a:cubicBezTo>
                    <a:cubicBezTo>
                      <a:pt x="40686" y="393290"/>
                      <a:pt x="32120" y="379046"/>
                      <a:pt x="32120" y="378334"/>
                    </a:cubicBezTo>
                    <a:cubicBezTo>
                      <a:pt x="31407" y="377622"/>
                      <a:pt x="23555" y="363377"/>
                      <a:pt x="17845" y="350557"/>
                    </a:cubicBezTo>
                    <a:cubicBezTo>
                      <a:pt x="17845" y="350557"/>
                      <a:pt x="17845" y="350557"/>
                      <a:pt x="14276" y="342011"/>
                    </a:cubicBezTo>
                    <a:cubicBezTo>
                      <a:pt x="14276" y="342011"/>
                      <a:pt x="14276" y="342011"/>
                      <a:pt x="39972" y="310673"/>
                    </a:cubicBezTo>
                    <a:cubicBezTo>
                      <a:pt x="37117" y="300702"/>
                      <a:pt x="35689" y="290019"/>
                      <a:pt x="34262" y="279336"/>
                    </a:cubicBezTo>
                    <a:cubicBezTo>
                      <a:pt x="34262" y="279336"/>
                      <a:pt x="34262" y="279336"/>
                      <a:pt x="0" y="259394"/>
                    </a:cubicBezTo>
                    <a:cubicBezTo>
                      <a:pt x="0" y="259394"/>
                      <a:pt x="0" y="259394"/>
                      <a:pt x="0" y="249423"/>
                    </a:cubicBezTo>
                    <a:cubicBezTo>
                      <a:pt x="714" y="235178"/>
                      <a:pt x="3569" y="219509"/>
                      <a:pt x="4283" y="218797"/>
                    </a:cubicBezTo>
                    <a:cubicBezTo>
                      <a:pt x="4283" y="218085"/>
                      <a:pt x="7138" y="201704"/>
                      <a:pt x="11421" y="188172"/>
                    </a:cubicBezTo>
                    <a:cubicBezTo>
                      <a:pt x="11421" y="188172"/>
                      <a:pt x="11421" y="188172"/>
                      <a:pt x="13562" y="179625"/>
                    </a:cubicBezTo>
                    <a:cubicBezTo>
                      <a:pt x="13562" y="179625"/>
                      <a:pt x="13562" y="179625"/>
                      <a:pt x="55675" y="171791"/>
                    </a:cubicBezTo>
                    <a:cubicBezTo>
                      <a:pt x="59958" y="162532"/>
                      <a:pt x="64954" y="154698"/>
                      <a:pt x="70664" y="147575"/>
                    </a:cubicBezTo>
                    <a:cubicBezTo>
                      <a:pt x="70664" y="147575"/>
                      <a:pt x="70664" y="147575"/>
                      <a:pt x="55675" y="106267"/>
                    </a:cubicBezTo>
                    <a:cubicBezTo>
                      <a:pt x="55675" y="106267"/>
                      <a:pt x="55675" y="106267"/>
                      <a:pt x="62813" y="99145"/>
                    </a:cubicBezTo>
                    <a:cubicBezTo>
                      <a:pt x="72092" y="88461"/>
                      <a:pt x="84940" y="78490"/>
                      <a:pt x="84940" y="77778"/>
                    </a:cubicBezTo>
                    <a:cubicBezTo>
                      <a:pt x="85654" y="77066"/>
                      <a:pt x="98502" y="67095"/>
                      <a:pt x="109922" y="59260"/>
                    </a:cubicBezTo>
                    <a:cubicBezTo>
                      <a:pt x="109922" y="59260"/>
                      <a:pt x="109922" y="59260"/>
                      <a:pt x="117774" y="54275"/>
                    </a:cubicBezTo>
                    <a:cubicBezTo>
                      <a:pt x="117774" y="54275"/>
                      <a:pt x="117774" y="54275"/>
                      <a:pt x="160601" y="77778"/>
                    </a:cubicBezTo>
                    <a:cubicBezTo>
                      <a:pt x="167025" y="75641"/>
                      <a:pt x="173449" y="73505"/>
                      <a:pt x="179873" y="71368"/>
                    </a:cubicBezTo>
                    <a:cubicBezTo>
                      <a:pt x="179873" y="71368"/>
                      <a:pt x="179873" y="71368"/>
                      <a:pt x="197003" y="25074"/>
                    </a:cubicBezTo>
                    <a:cubicBezTo>
                      <a:pt x="197003" y="25074"/>
                      <a:pt x="197003" y="25074"/>
                      <a:pt x="206282" y="24362"/>
                    </a:cubicBezTo>
                    <a:cubicBezTo>
                      <a:pt x="219844" y="22225"/>
                      <a:pt x="236261" y="22225"/>
                      <a:pt x="236975" y="22225"/>
                    </a:cubicBezTo>
                    <a:close/>
                    <a:moveTo>
                      <a:pt x="571201" y="0"/>
                    </a:moveTo>
                    <a:cubicBezTo>
                      <a:pt x="571201" y="0"/>
                      <a:pt x="571201" y="0"/>
                      <a:pt x="589818" y="15767"/>
                    </a:cubicBezTo>
                    <a:cubicBezTo>
                      <a:pt x="604854" y="15050"/>
                      <a:pt x="619174" y="16483"/>
                      <a:pt x="633494" y="21500"/>
                    </a:cubicBezTo>
                    <a:cubicBezTo>
                      <a:pt x="633494" y="21500"/>
                      <a:pt x="633494" y="21500"/>
                      <a:pt x="654259" y="10033"/>
                    </a:cubicBezTo>
                    <a:cubicBezTo>
                      <a:pt x="671443" y="17200"/>
                      <a:pt x="687911" y="29383"/>
                      <a:pt x="700800" y="44433"/>
                    </a:cubicBezTo>
                    <a:cubicBezTo>
                      <a:pt x="700800" y="44433"/>
                      <a:pt x="700800" y="44433"/>
                      <a:pt x="696504" y="66650"/>
                    </a:cubicBezTo>
                    <a:cubicBezTo>
                      <a:pt x="700800" y="73100"/>
                      <a:pt x="705096" y="80267"/>
                      <a:pt x="708676" y="88150"/>
                    </a:cubicBezTo>
                    <a:cubicBezTo>
                      <a:pt x="711540" y="95317"/>
                      <a:pt x="713688" y="102483"/>
                      <a:pt x="715836" y="109650"/>
                    </a:cubicBezTo>
                    <a:cubicBezTo>
                      <a:pt x="715836" y="109650"/>
                      <a:pt x="715836" y="109650"/>
                      <a:pt x="717268" y="111083"/>
                    </a:cubicBezTo>
                    <a:cubicBezTo>
                      <a:pt x="719416" y="111800"/>
                      <a:pt x="723712" y="114667"/>
                      <a:pt x="735168" y="121833"/>
                    </a:cubicBezTo>
                    <a:cubicBezTo>
                      <a:pt x="735884" y="129000"/>
                      <a:pt x="736600" y="136167"/>
                      <a:pt x="735884" y="143333"/>
                    </a:cubicBezTo>
                    <a:cubicBezTo>
                      <a:pt x="735168" y="155517"/>
                      <a:pt x="733020" y="167700"/>
                      <a:pt x="729440" y="179167"/>
                    </a:cubicBezTo>
                    <a:cubicBezTo>
                      <a:pt x="729440" y="179167"/>
                      <a:pt x="729440" y="179167"/>
                      <a:pt x="707960" y="186333"/>
                    </a:cubicBezTo>
                    <a:cubicBezTo>
                      <a:pt x="700800" y="201383"/>
                      <a:pt x="690775" y="215717"/>
                      <a:pt x="677887" y="227183"/>
                    </a:cubicBezTo>
                    <a:cubicBezTo>
                      <a:pt x="677887" y="227183"/>
                      <a:pt x="677887" y="227183"/>
                      <a:pt x="677887" y="250117"/>
                    </a:cubicBezTo>
                    <a:cubicBezTo>
                      <a:pt x="670011" y="255133"/>
                      <a:pt x="661419" y="260150"/>
                      <a:pt x="652827" y="264450"/>
                    </a:cubicBezTo>
                    <a:cubicBezTo>
                      <a:pt x="644235" y="268033"/>
                      <a:pt x="634926" y="270900"/>
                      <a:pt x="626334" y="273050"/>
                    </a:cubicBezTo>
                    <a:cubicBezTo>
                      <a:pt x="626334" y="273050"/>
                      <a:pt x="626334" y="273050"/>
                      <a:pt x="609150" y="257283"/>
                    </a:cubicBezTo>
                    <a:cubicBezTo>
                      <a:pt x="591966" y="258717"/>
                      <a:pt x="574781" y="256567"/>
                      <a:pt x="559029" y="250833"/>
                    </a:cubicBezTo>
                    <a:cubicBezTo>
                      <a:pt x="559029" y="250833"/>
                      <a:pt x="559029" y="250833"/>
                      <a:pt x="538981" y="262300"/>
                    </a:cubicBezTo>
                    <a:cubicBezTo>
                      <a:pt x="521796" y="253700"/>
                      <a:pt x="506760" y="242233"/>
                      <a:pt x="493156" y="227183"/>
                    </a:cubicBezTo>
                    <a:cubicBezTo>
                      <a:pt x="493156" y="227183"/>
                      <a:pt x="493156" y="227183"/>
                      <a:pt x="498884" y="204967"/>
                    </a:cubicBezTo>
                    <a:cubicBezTo>
                      <a:pt x="494588" y="198517"/>
                      <a:pt x="491008" y="191350"/>
                      <a:pt x="488144" y="184183"/>
                    </a:cubicBezTo>
                    <a:cubicBezTo>
                      <a:pt x="487428" y="183467"/>
                      <a:pt x="487428" y="182750"/>
                      <a:pt x="487428" y="182750"/>
                    </a:cubicBezTo>
                    <a:cubicBezTo>
                      <a:pt x="483848" y="175583"/>
                      <a:pt x="481700" y="167700"/>
                      <a:pt x="480268" y="160533"/>
                    </a:cubicBezTo>
                    <a:cubicBezTo>
                      <a:pt x="480268" y="160533"/>
                      <a:pt x="480268" y="160533"/>
                      <a:pt x="470959" y="154800"/>
                    </a:cubicBezTo>
                    <a:cubicBezTo>
                      <a:pt x="468811" y="153367"/>
                      <a:pt x="465231" y="151217"/>
                      <a:pt x="460219" y="149067"/>
                    </a:cubicBezTo>
                    <a:cubicBezTo>
                      <a:pt x="458787" y="128283"/>
                      <a:pt x="461651" y="108217"/>
                      <a:pt x="468095" y="89583"/>
                    </a:cubicBezTo>
                    <a:cubicBezTo>
                      <a:pt x="468095" y="89583"/>
                      <a:pt x="468095" y="89583"/>
                      <a:pt x="490292" y="82417"/>
                    </a:cubicBezTo>
                    <a:cubicBezTo>
                      <a:pt x="496736" y="68800"/>
                      <a:pt x="506044" y="58050"/>
                      <a:pt x="517500" y="47300"/>
                    </a:cubicBezTo>
                    <a:cubicBezTo>
                      <a:pt x="517500" y="47300"/>
                      <a:pt x="517500" y="47300"/>
                      <a:pt x="517500" y="23650"/>
                    </a:cubicBezTo>
                    <a:cubicBezTo>
                      <a:pt x="525376" y="17917"/>
                      <a:pt x="533969" y="12900"/>
                      <a:pt x="543277" y="9317"/>
                    </a:cubicBezTo>
                    <a:cubicBezTo>
                      <a:pt x="552585" y="5017"/>
                      <a:pt x="562609" y="2150"/>
                      <a:pt x="571201" y="0"/>
                    </a:cubicBezTo>
                    <a:close/>
                  </a:path>
                </a:pathLst>
              </a:custGeom>
              <a:solidFill>
                <a:schemeClr val="bg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grpSp>
      </p:grpSp>
      <p:sp>
        <p:nvSpPr>
          <p:cNvPr id="71" name="Freeform 15">
            <a:extLst>
              <a:ext uri="{FF2B5EF4-FFF2-40B4-BE49-F238E27FC236}">
                <a16:creationId xmlns:a16="http://schemas.microsoft.com/office/drawing/2014/main" id="{30FEEAB9-0F2F-406D-BB99-4DF55317A14F}"/>
              </a:ext>
            </a:extLst>
          </p:cNvPr>
          <p:cNvSpPr>
            <a:spLocks/>
          </p:cNvSpPr>
          <p:nvPr/>
        </p:nvSpPr>
        <p:spPr bwMode="auto">
          <a:xfrm>
            <a:off x="19098380" y="8359539"/>
            <a:ext cx="1493129" cy="1435165"/>
          </a:xfrm>
          <a:custGeom>
            <a:avLst/>
            <a:gdLst>
              <a:gd name="connsiteX0" fmla="*/ 1027597 w 1130273"/>
              <a:gd name="connsiteY0" fmla="*/ 397809 h 1197909"/>
              <a:gd name="connsiteX1" fmla="*/ 1035461 w 1130273"/>
              <a:gd name="connsiteY1" fmla="*/ 449198 h 1197909"/>
              <a:gd name="connsiteX2" fmla="*/ 1036891 w 1130273"/>
              <a:gd name="connsiteY2" fmla="*/ 491309 h 1197909"/>
              <a:gd name="connsiteX3" fmla="*/ 1042610 w 1130273"/>
              <a:gd name="connsiteY3" fmla="*/ 559828 h 1197909"/>
              <a:gd name="connsiteX4" fmla="*/ 1089791 w 1130273"/>
              <a:gd name="connsiteY4" fmla="*/ 635484 h 1197909"/>
              <a:gd name="connsiteX5" fmla="*/ 1128394 w 1130273"/>
              <a:gd name="connsiteY5" fmla="*/ 716136 h 1197909"/>
              <a:gd name="connsiteX6" fmla="*/ 1028312 w 1130273"/>
              <a:gd name="connsiteY6" fmla="*/ 758960 h 1197909"/>
              <a:gd name="connsiteX7" fmla="*/ 1031172 w 1130273"/>
              <a:gd name="connsiteY7" fmla="*/ 841040 h 1197909"/>
              <a:gd name="connsiteX8" fmla="*/ 1009011 w 1130273"/>
              <a:gd name="connsiteY8" fmla="*/ 973082 h 1197909"/>
              <a:gd name="connsiteX9" fmla="*/ 882479 w 1130273"/>
              <a:gd name="connsiteY9" fmla="*/ 995921 h 1197909"/>
              <a:gd name="connsiteX10" fmla="*/ 800984 w 1130273"/>
              <a:gd name="connsiteY10" fmla="*/ 991639 h 1197909"/>
              <a:gd name="connsiteX11" fmla="*/ 800984 w 1130273"/>
              <a:gd name="connsiteY11" fmla="*/ 1181493 h 1197909"/>
              <a:gd name="connsiteX12" fmla="*/ 786687 w 1130273"/>
              <a:gd name="connsiteY12" fmla="*/ 1197195 h 1197909"/>
              <a:gd name="connsiteX13" fmla="*/ 755947 w 1130273"/>
              <a:gd name="connsiteY13" fmla="*/ 1197909 h 1197909"/>
              <a:gd name="connsiteX14" fmla="*/ 453558 w 1130273"/>
              <a:gd name="connsiteY14" fmla="*/ 1133673 h 1197909"/>
              <a:gd name="connsiteX15" fmla="*/ 446409 w 1130273"/>
              <a:gd name="connsiteY15" fmla="*/ 1120825 h 1197909"/>
              <a:gd name="connsiteX16" fmla="*/ 446409 w 1130273"/>
              <a:gd name="connsiteY16" fmla="*/ 911700 h 1197909"/>
              <a:gd name="connsiteX17" fmla="*/ 477863 w 1130273"/>
              <a:gd name="connsiteY17" fmla="*/ 932399 h 1197909"/>
              <a:gd name="connsiteX18" fmla="*/ 477863 w 1130273"/>
              <a:gd name="connsiteY18" fmla="*/ 1111547 h 1197909"/>
              <a:gd name="connsiteX19" fmla="*/ 769530 w 1130273"/>
              <a:gd name="connsiteY19" fmla="*/ 1166505 h 1197909"/>
              <a:gd name="connsiteX20" fmla="*/ 769530 w 1130273"/>
              <a:gd name="connsiteY20" fmla="*/ 973796 h 1197909"/>
              <a:gd name="connsiteX21" fmla="*/ 776678 w 1130273"/>
              <a:gd name="connsiteY21" fmla="*/ 960948 h 1197909"/>
              <a:gd name="connsiteX22" fmla="*/ 789546 w 1130273"/>
              <a:gd name="connsiteY22" fmla="*/ 958807 h 1197909"/>
              <a:gd name="connsiteX23" fmla="*/ 886768 w 1130273"/>
              <a:gd name="connsiteY23" fmla="*/ 964517 h 1197909"/>
              <a:gd name="connsiteX24" fmla="*/ 986135 w 1130273"/>
              <a:gd name="connsiteY24" fmla="*/ 951670 h 1197909"/>
              <a:gd name="connsiteX25" fmla="*/ 999717 w 1130273"/>
              <a:gd name="connsiteY25" fmla="*/ 841754 h 1197909"/>
              <a:gd name="connsiteX26" fmla="*/ 995428 w 1130273"/>
              <a:gd name="connsiteY26" fmla="*/ 743258 h 1197909"/>
              <a:gd name="connsiteX27" fmla="*/ 1000432 w 1130273"/>
              <a:gd name="connsiteY27" fmla="*/ 731125 h 1197909"/>
              <a:gd name="connsiteX28" fmla="*/ 1013300 w 1130273"/>
              <a:gd name="connsiteY28" fmla="*/ 726842 h 1197909"/>
              <a:gd name="connsiteX29" fmla="*/ 1098369 w 1130273"/>
              <a:gd name="connsiteY29" fmla="*/ 704716 h 1197909"/>
              <a:gd name="connsiteX30" fmla="*/ 1067630 w 1130273"/>
              <a:gd name="connsiteY30" fmla="*/ 657610 h 1197909"/>
              <a:gd name="connsiteX31" fmla="*/ 1013300 w 1130273"/>
              <a:gd name="connsiteY31" fmla="*/ 571961 h 1197909"/>
              <a:gd name="connsiteX32" fmla="*/ 1006151 w 1130273"/>
              <a:gd name="connsiteY32" fmla="*/ 492023 h 1197909"/>
              <a:gd name="connsiteX33" fmla="*/ 1004007 w 1130273"/>
              <a:gd name="connsiteY33" fmla="*/ 452053 h 1197909"/>
              <a:gd name="connsiteX34" fmla="*/ 1000432 w 1130273"/>
              <a:gd name="connsiteY34" fmla="*/ 425645 h 1197909"/>
              <a:gd name="connsiteX35" fmla="*/ 1027597 w 1130273"/>
              <a:gd name="connsiteY35" fmla="*/ 397809 h 1197909"/>
              <a:gd name="connsiteX36" fmla="*/ 387089 w 1130273"/>
              <a:gd name="connsiteY36" fmla="*/ 126346 h 1197909"/>
              <a:gd name="connsiteX37" fmla="*/ 409254 w 1130273"/>
              <a:gd name="connsiteY37" fmla="*/ 261915 h 1197909"/>
              <a:gd name="connsiteX38" fmla="*/ 324168 w 1130273"/>
              <a:gd name="connsiteY38" fmla="*/ 394631 h 1197909"/>
              <a:gd name="connsiteX39" fmla="*/ 206907 w 1130273"/>
              <a:gd name="connsiteY39" fmla="*/ 431020 h 1197909"/>
              <a:gd name="connsiteX40" fmla="*/ 169727 w 1130273"/>
              <a:gd name="connsiteY40" fmla="*/ 428166 h 1197909"/>
              <a:gd name="connsiteX41" fmla="*/ 93937 w 1130273"/>
              <a:gd name="connsiteY41" fmla="*/ 397485 h 1197909"/>
              <a:gd name="connsiteX42" fmla="*/ 99657 w 1130273"/>
              <a:gd name="connsiteY42" fmla="*/ 440296 h 1197909"/>
              <a:gd name="connsiteX43" fmla="*/ 86786 w 1130273"/>
              <a:gd name="connsiteY43" fmla="*/ 458134 h 1197909"/>
              <a:gd name="connsiteX44" fmla="*/ 85174 w 1130273"/>
              <a:gd name="connsiteY44" fmla="*/ 458134 h 1197909"/>
              <a:gd name="connsiteX45" fmla="*/ 84641 w 1130273"/>
              <a:gd name="connsiteY45" fmla="*/ 458134 h 1197909"/>
              <a:gd name="connsiteX46" fmla="*/ 83030 w 1130273"/>
              <a:gd name="connsiteY46" fmla="*/ 458134 h 1197909"/>
              <a:gd name="connsiteX47" fmla="*/ 67314 w 1130273"/>
              <a:gd name="connsiteY47" fmla="*/ 444518 h 1197909"/>
              <a:gd name="connsiteX48" fmla="*/ 56598 w 1130273"/>
              <a:gd name="connsiteY48" fmla="*/ 362820 h 1197909"/>
              <a:gd name="connsiteX49" fmla="*/ 59456 w 1130273"/>
              <a:gd name="connsiteY49" fmla="*/ 351354 h 1197909"/>
              <a:gd name="connsiteX50" fmla="*/ 69457 w 1130273"/>
              <a:gd name="connsiteY50" fmla="*/ 344904 h 1197909"/>
              <a:gd name="connsiteX51" fmla="*/ 150896 w 1130273"/>
              <a:gd name="connsiteY51" fmla="*/ 334154 h 1197909"/>
              <a:gd name="connsiteX52" fmla="*/ 162505 w 1130273"/>
              <a:gd name="connsiteY52" fmla="*/ 337200 h 1197909"/>
              <a:gd name="connsiteX53" fmla="*/ 162697 w 1130273"/>
              <a:gd name="connsiteY53" fmla="*/ 337525 h 1197909"/>
              <a:gd name="connsiteX54" fmla="*/ 163471 w 1130273"/>
              <a:gd name="connsiteY54" fmla="*/ 337727 h 1197909"/>
              <a:gd name="connsiteX55" fmla="*/ 169727 w 1130273"/>
              <a:gd name="connsiteY55" fmla="*/ 348252 h 1197909"/>
              <a:gd name="connsiteX56" fmla="*/ 156142 w 1130273"/>
              <a:gd name="connsiteY56" fmla="*/ 366090 h 1197909"/>
              <a:gd name="connsiteX57" fmla="*/ 111812 w 1130273"/>
              <a:gd name="connsiteY57" fmla="*/ 371798 h 1197909"/>
              <a:gd name="connsiteX58" fmla="*/ 175447 w 1130273"/>
              <a:gd name="connsiteY58" fmla="*/ 396771 h 1197909"/>
              <a:gd name="connsiteX59" fmla="*/ 306293 w 1130273"/>
              <a:gd name="connsiteY59" fmla="*/ 368230 h 1197909"/>
              <a:gd name="connsiteX60" fmla="*/ 378509 w 1130273"/>
              <a:gd name="connsiteY60" fmla="*/ 256207 h 1197909"/>
              <a:gd name="connsiteX61" fmla="*/ 360634 w 1130273"/>
              <a:gd name="connsiteY61" fmla="*/ 143471 h 1197909"/>
              <a:gd name="connsiteX62" fmla="*/ 387089 w 1130273"/>
              <a:gd name="connsiteY62" fmla="*/ 126346 h 1197909"/>
              <a:gd name="connsiteX63" fmla="*/ 709211 w 1130273"/>
              <a:gd name="connsiteY63" fmla="*/ 107372 h 1197909"/>
              <a:gd name="connsiteX64" fmla="*/ 1040292 w 1130273"/>
              <a:gd name="connsiteY64" fmla="*/ 288736 h 1197909"/>
              <a:gd name="connsiteX65" fmla="*/ 1040292 w 1130273"/>
              <a:gd name="connsiteY65" fmla="*/ 294448 h 1197909"/>
              <a:gd name="connsiteX66" fmla="*/ 1001678 w 1130273"/>
              <a:gd name="connsiteY66" fmla="*/ 380131 h 1197909"/>
              <a:gd name="connsiteX67" fmla="*/ 763557 w 1130273"/>
              <a:gd name="connsiteY67" fmla="*/ 560067 h 1197909"/>
              <a:gd name="connsiteX68" fmla="*/ 757121 w 1130273"/>
              <a:gd name="connsiteY68" fmla="*/ 550070 h 1197909"/>
              <a:gd name="connsiteX69" fmla="*/ 802886 w 1130273"/>
              <a:gd name="connsiteY69" fmla="*/ 505800 h 1197909"/>
              <a:gd name="connsiteX70" fmla="*/ 509704 w 1130273"/>
              <a:gd name="connsiteY70" fmla="*/ 591484 h 1197909"/>
              <a:gd name="connsiteX71" fmla="*/ 502554 w 1130273"/>
              <a:gd name="connsiteY71" fmla="*/ 908513 h 1197909"/>
              <a:gd name="connsiteX72" fmla="*/ 254422 w 1130273"/>
              <a:gd name="connsiteY72" fmla="*/ 452962 h 1197909"/>
              <a:gd name="connsiteX73" fmla="*/ 338086 w 1130273"/>
              <a:gd name="connsiteY73" fmla="*/ 416547 h 1197909"/>
              <a:gd name="connsiteX74" fmla="*/ 434621 w 1130273"/>
              <a:gd name="connsiteY74" fmla="*/ 266601 h 1197909"/>
              <a:gd name="connsiteX75" fmla="*/ 431761 w 1130273"/>
              <a:gd name="connsiteY75" fmla="*/ 170207 h 1197909"/>
              <a:gd name="connsiteX76" fmla="*/ 709211 w 1130273"/>
              <a:gd name="connsiteY76" fmla="*/ 107372 h 1197909"/>
              <a:gd name="connsiteX77" fmla="*/ 336100 w 1130273"/>
              <a:gd name="connsiteY77" fmla="*/ 60 h 1197909"/>
              <a:gd name="connsiteX78" fmla="*/ 353994 w 1130273"/>
              <a:gd name="connsiteY78" fmla="*/ 13637 h 1197909"/>
              <a:gd name="connsiteX79" fmla="*/ 364730 w 1130273"/>
              <a:gd name="connsiteY79" fmla="*/ 95095 h 1197909"/>
              <a:gd name="connsiteX80" fmla="*/ 361867 w 1130273"/>
              <a:gd name="connsiteY80" fmla="*/ 106527 h 1197909"/>
              <a:gd name="connsiteX81" fmla="*/ 351847 w 1130273"/>
              <a:gd name="connsiteY81" fmla="*/ 112958 h 1197909"/>
              <a:gd name="connsiteX82" fmla="*/ 270251 w 1130273"/>
              <a:gd name="connsiteY82" fmla="*/ 123676 h 1197909"/>
              <a:gd name="connsiteX83" fmla="*/ 268104 w 1130273"/>
              <a:gd name="connsiteY83" fmla="*/ 123676 h 1197909"/>
              <a:gd name="connsiteX84" fmla="*/ 252358 w 1130273"/>
              <a:gd name="connsiteY84" fmla="*/ 110100 h 1197909"/>
              <a:gd name="connsiteX85" fmla="*/ 265957 w 1130273"/>
              <a:gd name="connsiteY85" fmla="*/ 92237 h 1197909"/>
              <a:gd name="connsiteX86" fmla="*/ 312481 w 1130273"/>
              <a:gd name="connsiteY86" fmla="*/ 86520 h 1197909"/>
              <a:gd name="connsiteX87" fmla="*/ 236611 w 1130273"/>
              <a:gd name="connsiteY87" fmla="*/ 52937 h 1197909"/>
              <a:gd name="connsiteX88" fmla="*/ 205834 w 1130273"/>
              <a:gd name="connsiteY88" fmla="*/ 50078 h 1197909"/>
              <a:gd name="connsiteX89" fmla="*/ 107060 w 1130273"/>
              <a:gd name="connsiteY89" fmla="*/ 81518 h 1197909"/>
              <a:gd name="connsiteX90" fmla="*/ 34769 w 1130273"/>
              <a:gd name="connsiteY90" fmla="*/ 194417 h 1197909"/>
              <a:gd name="connsiteX91" fmla="*/ 57673 w 1130273"/>
              <a:gd name="connsiteY91" fmla="*/ 316603 h 1197909"/>
              <a:gd name="connsiteX92" fmla="*/ 35484 w 1130273"/>
              <a:gd name="connsiteY92" fmla="*/ 332323 h 1197909"/>
              <a:gd name="connsiteX93" fmla="*/ 32621 w 1130273"/>
              <a:gd name="connsiteY93" fmla="*/ 335896 h 1197909"/>
              <a:gd name="connsiteX94" fmla="*/ 3276 w 1130273"/>
              <a:gd name="connsiteY94" fmla="*/ 188700 h 1197909"/>
              <a:gd name="connsiteX95" fmla="*/ 88450 w 1130273"/>
              <a:gd name="connsiteY95" fmla="*/ 55795 h 1197909"/>
              <a:gd name="connsiteX96" fmla="*/ 242337 w 1130273"/>
              <a:gd name="connsiteY96" fmla="*/ 22211 h 1197909"/>
              <a:gd name="connsiteX97" fmla="*/ 328227 w 1130273"/>
              <a:gd name="connsiteY97" fmla="*/ 59368 h 1197909"/>
              <a:gd name="connsiteX98" fmla="*/ 323217 w 1130273"/>
              <a:gd name="connsiteY98" fmla="*/ 17924 h 1197909"/>
              <a:gd name="connsiteX99" fmla="*/ 336100 w 1130273"/>
              <a:gd name="connsiteY99" fmla="*/ 60 h 119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130273" h="1197909">
                <a:moveTo>
                  <a:pt x="1027597" y="397809"/>
                </a:moveTo>
                <a:cubicBezTo>
                  <a:pt x="1031172" y="415653"/>
                  <a:pt x="1034031" y="435637"/>
                  <a:pt x="1035461" y="449198"/>
                </a:cubicBezTo>
                <a:cubicBezTo>
                  <a:pt x="1036176" y="460618"/>
                  <a:pt x="1036891" y="475607"/>
                  <a:pt x="1036891" y="491309"/>
                </a:cubicBezTo>
                <a:cubicBezTo>
                  <a:pt x="1037605" y="516290"/>
                  <a:pt x="1039035" y="550549"/>
                  <a:pt x="1042610" y="559828"/>
                </a:cubicBezTo>
                <a:cubicBezTo>
                  <a:pt x="1051903" y="583381"/>
                  <a:pt x="1069060" y="614785"/>
                  <a:pt x="1089791" y="635484"/>
                </a:cubicBezTo>
                <a:cubicBezTo>
                  <a:pt x="1114811" y="659751"/>
                  <a:pt x="1136972" y="695438"/>
                  <a:pt x="1128394" y="716136"/>
                </a:cubicBezTo>
                <a:cubicBezTo>
                  <a:pt x="1122675" y="728983"/>
                  <a:pt x="1094080" y="760388"/>
                  <a:pt x="1028312" y="758960"/>
                </a:cubicBezTo>
                <a:cubicBezTo>
                  <a:pt x="1029742" y="778231"/>
                  <a:pt x="1031172" y="808922"/>
                  <a:pt x="1031172" y="841040"/>
                </a:cubicBezTo>
                <a:cubicBezTo>
                  <a:pt x="1031172" y="938109"/>
                  <a:pt x="1019019" y="962376"/>
                  <a:pt x="1009011" y="973082"/>
                </a:cubicBezTo>
                <a:cubicBezTo>
                  <a:pt x="999003" y="983074"/>
                  <a:pt x="975412" y="996635"/>
                  <a:pt x="882479" y="995921"/>
                </a:cubicBezTo>
                <a:cubicBezTo>
                  <a:pt x="857459" y="995208"/>
                  <a:pt x="823145" y="993780"/>
                  <a:pt x="800984" y="991639"/>
                </a:cubicBezTo>
                <a:cubicBezTo>
                  <a:pt x="800984" y="1181493"/>
                  <a:pt x="800984" y="1181493"/>
                  <a:pt x="800984" y="1181493"/>
                </a:cubicBezTo>
                <a:cubicBezTo>
                  <a:pt x="800984" y="1190058"/>
                  <a:pt x="794550" y="1197195"/>
                  <a:pt x="786687" y="1197195"/>
                </a:cubicBezTo>
                <a:cubicBezTo>
                  <a:pt x="784542" y="1197195"/>
                  <a:pt x="773104" y="1197909"/>
                  <a:pt x="755947" y="1197909"/>
                </a:cubicBezTo>
                <a:cubicBezTo>
                  <a:pt x="693039" y="1197909"/>
                  <a:pt x="547921" y="1191486"/>
                  <a:pt x="453558" y="1133673"/>
                </a:cubicBezTo>
                <a:cubicBezTo>
                  <a:pt x="449269" y="1131532"/>
                  <a:pt x="446409" y="1125822"/>
                  <a:pt x="446409" y="1120825"/>
                </a:cubicBezTo>
                <a:cubicBezTo>
                  <a:pt x="446409" y="911700"/>
                  <a:pt x="446409" y="911700"/>
                  <a:pt x="446409" y="911700"/>
                </a:cubicBezTo>
                <a:cubicBezTo>
                  <a:pt x="457847" y="920979"/>
                  <a:pt x="468570" y="928116"/>
                  <a:pt x="477863" y="932399"/>
                </a:cubicBezTo>
                <a:cubicBezTo>
                  <a:pt x="477863" y="1111547"/>
                  <a:pt x="477863" y="1111547"/>
                  <a:pt x="477863" y="1111547"/>
                </a:cubicBezTo>
                <a:cubicBezTo>
                  <a:pt x="572941" y="1164363"/>
                  <a:pt x="722348" y="1167218"/>
                  <a:pt x="769530" y="1166505"/>
                </a:cubicBezTo>
                <a:cubicBezTo>
                  <a:pt x="769530" y="973796"/>
                  <a:pt x="769530" y="973796"/>
                  <a:pt x="769530" y="973796"/>
                </a:cubicBezTo>
                <a:cubicBezTo>
                  <a:pt x="769530" y="968799"/>
                  <a:pt x="772389" y="963803"/>
                  <a:pt x="776678" y="960948"/>
                </a:cubicBezTo>
                <a:cubicBezTo>
                  <a:pt x="780968" y="958807"/>
                  <a:pt x="785257" y="958093"/>
                  <a:pt x="789546" y="958807"/>
                </a:cubicBezTo>
                <a:cubicBezTo>
                  <a:pt x="795980" y="960234"/>
                  <a:pt x="840302" y="963803"/>
                  <a:pt x="886768" y="964517"/>
                </a:cubicBezTo>
                <a:cubicBezTo>
                  <a:pt x="971123" y="964517"/>
                  <a:pt x="984705" y="952383"/>
                  <a:pt x="986135" y="951670"/>
                </a:cubicBezTo>
                <a:cubicBezTo>
                  <a:pt x="987565" y="950242"/>
                  <a:pt x="999717" y="935254"/>
                  <a:pt x="999717" y="841754"/>
                </a:cubicBezTo>
                <a:cubicBezTo>
                  <a:pt x="999717" y="791079"/>
                  <a:pt x="996143" y="743972"/>
                  <a:pt x="995428" y="743258"/>
                </a:cubicBezTo>
                <a:cubicBezTo>
                  <a:pt x="995428" y="738976"/>
                  <a:pt x="996858" y="733980"/>
                  <a:pt x="1000432" y="731125"/>
                </a:cubicBezTo>
                <a:cubicBezTo>
                  <a:pt x="1004007" y="727556"/>
                  <a:pt x="1008296" y="726128"/>
                  <a:pt x="1013300" y="726842"/>
                </a:cubicBezTo>
                <a:cubicBezTo>
                  <a:pt x="1069060" y="732552"/>
                  <a:pt x="1093365" y="712567"/>
                  <a:pt x="1098369" y="704716"/>
                </a:cubicBezTo>
                <a:cubicBezTo>
                  <a:pt x="1097654" y="698293"/>
                  <a:pt x="1089076" y="678308"/>
                  <a:pt x="1067630" y="657610"/>
                </a:cubicBezTo>
                <a:cubicBezTo>
                  <a:pt x="1037605" y="627633"/>
                  <a:pt x="1019019" y="584808"/>
                  <a:pt x="1013300" y="571961"/>
                </a:cubicBezTo>
                <a:cubicBezTo>
                  <a:pt x="1007581" y="558400"/>
                  <a:pt x="1006866" y="531278"/>
                  <a:pt x="1006151" y="492023"/>
                </a:cubicBezTo>
                <a:cubicBezTo>
                  <a:pt x="1005436" y="477034"/>
                  <a:pt x="1004722" y="462046"/>
                  <a:pt x="1004007" y="452053"/>
                </a:cubicBezTo>
                <a:cubicBezTo>
                  <a:pt x="1003292" y="444202"/>
                  <a:pt x="1001862" y="435637"/>
                  <a:pt x="1000432" y="425645"/>
                </a:cubicBezTo>
                <a:cubicBezTo>
                  <a:pt x="1010440" y="416366"/>
                  <a:pt x="1019734" y="407088"/>
                  <a:pt x="1027597" y="397809"/>
                </a:cubicBezTo>
                <a:close/>
                <a:moveTo>
                  <a:pt x="387089" y="126346"/>
                </a:moveTo>
                <a:cubicBezTo>
                  <a:pt x="409969" y="167730"/>
                  <a:pt x="417834" y="214823"/>
                  <a:pt x="409254" y="261915"/>
                </a:cubicBezTo>
                <a:cubicBezTo>
                  <a:pt x="399244" y="316143"/>
                  <a:pt x="369214" y="363236"/>
                  <a:pt x="324168" y="394631"/>
                </a:cubicBezTo>
                <a:cubicBezTo>
                  <a:pt x="289133" y="418890"/>
                  <a:pt x="248378" y="431020"/>
                  <a:pt x="206907" y="431020"/>
                </a:cubicBezTo>
                <a:cubicBezTo>
                  <a:pt x="194752" y="431020"/>
                  <a:pt x="181882" y="430307"/>
                  <a:pt x="169727" y="428166"/>
                </a:cubicBezTo>
                <a:cubicBezTo>
                  <a:pt x="141842" y="423172"/>
                  <a:pt x="116817" y="412469"/>
                  <a:pt x="93937" y="397485"/>
                </a:cubicBezTo>
                <a:cubicBezTo>
                  <a:pt x="93937" y="397485"/>
                  <a:pt x="93937" y="397485"/>
                  <a:pt x="99657" y="440296"/>
                </a:cubicBezTo>
                <a:cubicBezTo>
                  <a:pt x="101087" y="448858"/>
                  <a:pt x="95367" y="456707"/>
                  <a:pt x="86786" y="458134"/>
                </a:cubicBezTo>
                <a:lnTo>
                  <a:pt x="85174" y="458134"/>
                </a:lnTo>
                <a:lnTo>
                  <a:pt x="84641" y="458134"/>
                </a:lnTo>
                <a:lnTo>
                  <a:pt x="83030" y="458134"/>
                </a:lnTo>
                <a:cubicBezTo>
                  <a:pt x="75172" y="458134"/>
                  <a:pt x="68029" y="452401"/>
                  <a:pt x="67314" y="444518"/>
                </a:cubicBezTo>
                <a:cubicBezTo>
                  <a:pt x="56598" y="362820"/>
                  <a:pt x="56598" y="362820"/>
                  <a:pt x="56598" y="362820"/>
                </a:cubicBezTo>
                <a:cubicBezTo>
                  <a:pt x="55884" y="358520"/>
                  <a:pt x="56598" y="354220"/>
                  <a:pt x="59456" y="351354"/>
                </a:cubicBezTo>
                <a:cubicBezTo>
                  <a:pt x="61599" y="347771"/>
                  <a:pt x="65885" y="345621"/>
                  <a:pt x="69457" y="344904"/>
                </a:cubicBezTo>
                <a:cubicBezTo>
                  <a:pt x="150896" y="334154"/>
                  <a:pt x="150896" y="334154"/>
                  <a:pt x="150896" y="334154"/>
                </a:cubicBezTo>
                <a:cubicBezTo>
                  <a:pt x="155183" y="333438"/>
                  <a:pt x="159290" y="334692"/>
                  <a:pt x="162505" y="337200"/>
                </a:cubicBezTo>
                <a:lnTo>
                  <a:pt x="162697" y="337525"/>
                </a:lnTo>
                <a:lnTo>
                  <a:pt x="163471" y="337727"/>
                </a:lnTo>
                <a:cubicBezTo>
                  <a:pt x="166689" y="340225"/>
                  <a:pt x="169012" y="343971"/>
                  <a:pt x="169727" y="348252"/>
                </a:cubicBezTo>
                <a:cubicBezTo>
                  <a:pt x="171157" y="356814"/>
                  <a:pt x="164722" y="364663"/>
                  <a:pt x="156142" y="366090"/>
                </a:cubicBezTo>
                <a:cubicBezTo>
                  <a:pt x="156142" y="366090"/>
                  <a:pt x="156142" y="366090"/>
                  <a:pt x="111812" y="371798"/>
                </a:cubicBezTo>
                <a:cubicBezTo>
                  <a:pt x="130402" y="383928"/>
                  <a:pt x="151852" y="393204"/>
                  <a:pt x="175447" y="396771"/>
                </a:cubicBezTo>
                <a:cubicBezTo>
                  <a:pt x="221208" y="405333"/>
                  <a:pt x="267683" y="395344"/>
                  <a:pt x="306293" y="368230"/>
                </a:cubicBezTo>
                <a:cubicBezTo>
                  <a:pt x="344189" y="341830"/>
                  <a:pt x="369929" y="301873"/>
                  <a:pt x="378509" y="256207"/>
                </a:cubicBezTo>
                <a:cubicBezTo>
                  <a:pt x="384944" y="216963"/>
                  <a:pt x="379224" y="177720"/>
                  <a:pt x="360634" y="143471"/>
                </a:cubicBezTo>
                <a:cubicBezTo>
                  <a:pt x="371359" y="141330"/>
                  <a:pt x="380654" y="134908"/>
                  <a:pt x="387089" y="126346"/>
                </a:cubicBezTo>
                <a:close/>
                <a:moveTo>
                  <a:pt x="709211" y="107372"/>
                </a:moveTo>
                <a:cubicBezTo>
                  <a:pt x="954483" y="122367"/>
                  <a:pt x="1041722" y="234470"/>
                  <a:pt x="1040292" y="288736"/>
                </a:cubicBezTo>
                <a:cubicBezTo>
                  <a:pt x="1040292" y="294448"/>
                  <a:pt x="1040292" y="294448"/>
                  <a:pt x="1040292" y="294448"/>
                </a:cubicBezTo>
                <a:cubicBezTo>
                  <a:pt x="1038147" y="325865"/>
                  <a:pt x="1024560" y="353712"/>
                  <a:pt x="1001678" y="380131"/>
                </a:cubicBezTo>
                <a:cubicBezTo>
                  <a:pt x="966639" y="429399"/>
                  <a:pt x="835065" y="522937"/>
                  <a:pt x="763557" y="560067"/>
                </a:cubicBezTo>
                <a:cubicBezTo>
                  <a:pt x="757121" y="562923"/>
                  <a:pt x="751401" y="554354"/>
                  <a:pt x="757121" y="550070"/>
                </a:cubicBezTo>
                <a:cubicBezTo>
                  <a:pt x="779289" y="532934"/>
                  <a:pt x="793590" y="517939"/>
                  <a:pt x="802886" y="505800"/>
                </a:cubicBezTo>
                <a:cubicBezTo>
                  <a:pt x="661301" y="563637"/>
                  <a:pt x="509704" y="591484"/>
                  <a:pt x="509704" y="591484"/>
                </a:cubicBezTo>
                <a:cubicBezTo>
                  <a:pt x="382420" y="718581"/>
                  <a:pt x="541168" y="891376"/>
                  <a:pt x="502554" y="908513"/>
                </a:cubicBezTo>
                <a:cubicBezTo>
                  <a:pt x="480386" y="918509"/>
                  <a:pt x="233684" y="705729"/>
                  <a:pt x="254422" y="452962"/>
                </a:cubicBezTo>
                <a:cubicBezTo>
                  <a:pt x="284455" y="446536"/>
                  <a:pt x="313058" y="433684"/>
                  <a:pt x="338086" y="416547"/>
                </a:cubicBezTo>
                <a:cubicBezTo>
                  <a:pt x="389571" y="380845"/>
                  <a:pt x="423895" y="327293"/>
                  <a:pt x="434621" y="266601"/>
                </a:cubicBezTo>
                <a:cubicBezTo>
                  <a:pt x="440342" y="233755"/>
                  <a:pt x="439627" y="200910"/>
                  <a:pt x="431761" y="170207"/>
                </a:cubicBezTo>
                <a:cubicBezTo>
                  <a:pt x="502554" y="127365"/>
                  <a:pt x="594799" y="100946"/>
                  <a:pt x="709211" y="107372"/>
                </a:cubicBezTo>
                <a:close/>
                <a:moveTo>
                  <a:pt x="336100" y="60"/>
                </a:moveTo>
                <a:cubicBezTo>
                  <a:pt x="344689" y="-654"/>
                  <a:pt x="353278" y="5062"/>
                  <a:pt x="353994" y="13637"/>
                </a:cubicBezTo>
                <a:cubicBezTo>
                  <a:pt x="353994" y="13637"/>
                  <a:pt x="353994" y="13637"/>
                  <a:pt x="364730" y="95095"/>
                </a:cubicBezTo>
                <a:cubicBezTo>
                  <a:pt x="365446" y="99382"/>
                  <a:pt x="364730" y="103669"/>
                  <a:pt x="361867" y="106527"/>
                </a:cubicBezTo>
                <a:cubicBezTo>
                  <a:pt x="359720" y="110100"/>
                  <a:pt x="355426" y="112244"/>
                  <a:pt x="351847" y="112958"/>
                </a:cubicBezTo>
                <a:cubicBezTo>
                  <a:pt x="351847" y="112958"/>
                  <a:pt x="351847" y="112958"/>
                  <a:pt x="270251" y="123676"/>
                </a:cubicBezTo>
                <a:cubicBezTo>
                  <a:pt x="269536" y="123676"/>
                  <a:pt x="268820" y="123676"/>
                  <a:pt x="268104" y="123676"/>
                </a:cubicBezTo>
                <a:cubicBezTo>
                  <a:pt x="260231" y="123676"/>
                  <a:pt x="253073" y="117960"/>
                  <a:pt x="252358" y="110100"/>
                </a:cubicBezTo>
                <a:cubicBezTo>
                  <a:pt x="250926" y="101526"/>
                  <a:pt x="257368" y="93666"/>
                  <a:pt x="265957" y="92237"/>
                </a:cubicBezTo>
                <a:cubicBezTo>
                  <a:pt x="265957" y="92237"/>
                  <a:pt x="265957" y="92237"/>
                  <a:pt x="312481" y="86520"/>
                </a:cubicBezTo>
                <a:cubicBezTo>
                  <a:pt x="290292" y="69371"/>
                  <a:pt x="264525" y="57938"/>
                  <a:pt x="236611" y="52937"/>
                </a:cubicBezTo>
                <a:cubicBezTo>
                  <a:pt x="226590" y="51508"/>
                  <a:pt x="215854" y="50078"/>
                  <a:pt x="205834" y="50078"/>
                </a:cubicBezTo>
                <a:cubicBezTo>
                  <a:pt x="170046" y="50078"/>
                  <a:pt x="135690" y="60797"/>
                  <a:pt x="107060" y="81518"/>
                </a:cubicBezTo>
                <a:cubicBezTo>
                  <a:pt x="68409" y="107956"/>
                  <a:pt x="42642" y="147971"/>
                  <a:pt x="34769" y="194417"/>
                </a:cubicBezTo>
                <a:cubicBezTo>
                  <a:pt x="26895" y="236575"/>
                  <a:pt x="34769" y="279447"/>
                  <a:pt x="57673" y="316603"/>
                </a:cubicBezTo>
                <a:cubicBezTo>
                  <a:pt x="49084" y="319462"/>
                  <a:pt x="41210" y="325178"/>
                  <a:pt x="35484" y="332323"/>
                </a:cubicBezTo>
                <a:cubicBezTo>
                  <a:pt x="34769" y="333753"/>
                  <a:pt x="33337" y="335182"/>
                  <a:pt x="32621" y="335896"/>
                </a:cubicBezTo>
                <a:cubicBezTo>
                  <a:pt x="4707" y="292309"/>
                  <a:pt x="-6029" y="240147"/>
                  <a:pt x="3276" y="188700"/>
                </a:cubicBezTo>
                <a:cubicBezTo>
                  <a:pt x="13296" y="134395"/>
                  <a:pt x="43358" y="87235"/>
                  <a:pt x="88450" y="55795"/>
                </a:cubicBezTo>
                <a:cubicBezTo>
                  <a:pt x="133543" y="24355"/>
                  <a:pt x="187940" y="12208"/>
                  <a:pt x="242337" y="22211"/>
                </a:cubicBezTo>
                <a:cubicBezTo>
                  <a:pt x="273830" y="27928"/>
                  <a:pt x="303176" y="40789"/>
                  <a:pt x="328227" y="59368"/>
                </a:cubicBezTo>
                <a:cubicBezTo>
                  <a:pt x="328227" y="59368"/>
                  <a:pt x="328227" y="59368"/>
                  <a:pt x="323217" y="17924"/>
                </a:cubicBezTo>
                <a:cubicBezTo>
                  <a:pt x="321785" y="9349"/>
                  <a:pt x="327511" y="1490"/>
                  <a:pt x="336100" y="60"/>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cxnSp>
        <p:nvCxnSpPr>
          <p:cNvPr id="72" name="Straight Connector 71">
            <a:extLst>
              <a:ext uri="{FF2B5EF4-FFF2-40B4-BE49-F238E27FC236}">
                <a16:creationId xmlns:a16="http://schemas.microsoft.com/office/drawing/2014/main" id="{BDD66CEB-14F9-2EC4-AFB7-BA9F874E8C5E}"/>
              </a:ext>
            </a:extLst>
          </p:cNvPr>
          <p:cNvCxnSpPr/>
          <p:nvPr/>
        </p:nvCxnSpPr>
        <p:spPr>
          <a:xfrm>
            <a:off x="20010195" y="10401804"/>
            <a:ext cx="3501506" cy="0"/>
          </a:xfrm>
          <a:prstGeom prst="line">
            <a:avLst/>
          </a:prstGeom>
          <a:ln w="9525" cap="flat" cmpd="sng" algn="ctr">
            <a:solidFill>
              <a:srgbClr val="4589FF"/>
            </a:solidFill>
            <a:prstDash val="solid"/>
            <a:round/>
            <a:headEnd type="none" w="med" len="med"/>
            <a:tailEnd type="none" w="med" len="med"/>
          </a:ln>
        </p:spPr>
      </p:cxnSp>
      <p:sp>
        <p:nvSpPr>
          <p:cNvPr id="73" name="Rectangle 72">
            <a:extLst>
              <a:ext uri="{FF2B5EF4-FFF2-40B4-BE49-F238E27FC236}">
                <a16:creationId xmlns:a16="http://schemas.microsoft.com/office/drawing/2014/main" id="{1E50A2B5-0B0C-2874-A940-96640EBE0D78}"/>
              </a:ext>
            </a:extLst>
          </p:cNvPr>
          <p:cNvSpPr/>
          <p:nvPr/>
        </p:nvSpPr>
        <p:spPr>
          <a:xfrm>
            <a:off x="19941584" y="9876919"/>
            <a:ext cx="3501506" cy="55426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chemeClr val="bg2">
                    <a:lumMod val="10000"/>
                  </a:schemeClr>
                </a:solidFill>
                <a:latin typeface="IBM Plex Sans" panose="020B0503050203000203" pitchFamily="34" charset="0"/>
              </a:rPr>
              <a:t>Offering Management</a:t>
            </a:r>
          </a:p>
        </p:txBody>
      </p:sp>
      <p:sp>
        <p:nvSpPr>
          <p:cNvPr id="75" name="Rectangle 74">
            <a:extLst>
              <a:ext uri="{FF2B5EF4-FFF2-40B4-BE49-F238E27FC236}">
                <a16:creationId xmlns:a16="http://schemas.microsoft.com/office/drawing/2014/main" id="{090467C3-55E4-D8CF-F8C5-F5B1CBC0331F}"/>
              </a:ext>
            </a:extLst>
          </p:cNvPr>
          <p:cNvSpPr/>
          <p:nvPr/>
        </p:nvSpPr>
        <p:spPr>
          <a:xfrm>
            <a:off x="19417392" y="3350348"/>
            <a:ext cx="4771618" cy="1121402"/>
          </a:xfrm>
          <a:prstGeom prst="rect">
            <a:avLst/>
          </a:prstGeom>
          <a:solidFill>
            <a:schemeClr val="bg1">
              <a:lumMod val="95000"/>
            </a:schemeClr>
          </a:solidFill>
          <a:ln w="6350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2">
                    <a:lumMod val="10000"/>
                  </a:schemeClr>
                </a:solidFill>
                <a:latin typeface="IBM Plex Sans" panose="020B0503050203000203" pitchFamily="34" charset="0"/>
                <a:cs typeface="Arial" panose="020B0604020202020204" pitchFamily="34" charset="0"/>
              </a:rPr>
              <a:t>CONTINUOUS  SUPPORT &amp; CO-INNOVATION</a:t>
            </a:r>
          </a:p>
        </p:txBody>
      </p:sp>
      <p:sp>
        <p:nvSpPr>
          <p:cNvPr id="76" name="Rounded Rectangle 75">
            <a:extLst>
              <a:ext uri="{FF2B5EF4-FFF2-40B4-BE49-F238E27FC236}">
                <a16:creationId xmlns:a16="http://schemas.microsoft.com/office/drawing/2014/main" id="{EEB91064-0F7E-031C-96F5-BAA569D524B0}"/>
              </a:ext>
            </a:extLst>
          </p:cNvPr>
          <p:cNvSpPr/>
          <p:nvPr/>
        </p:nvSpPr>
        <p:spPr bwMode="auto">
          <a:xfrm>
            <a:off x="19417392" y="4560361"/>
            <a:ext cx="4885916" cy="3072733"/>
          </a:xfrm>
          <a:prstGeom prst="roundRect">
            <a:avLst/>
          </a:prstGeom>
          <a:solidFill>
            <a:schemeClr val="tx1">
              <a:lumMod val="75000"/>
            </a:schemeClr>
          </a:solidFill>
          <a:ln w="3810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algn="l"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1"/>
                </a:solidFill>
                <a:effectLst/>
                <a:uLnTx/>
                <a:uFillTx/>
                <a:latin typeface="IBM Plex Sans" charset="0"/>
                <a:ea typeface="IBM Plex Sans" charset="0"/>
                <a:cs typeface="IBM Plex Sans" charset="0"/>
              </a:rPr>
              <a:t>Outcomes</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kumimoji="0" lang="en-US" b="0" i="0" u="none" strike="noStrike" kern="1200" cap="none" spc="0" normalizeH="0" baseline="0" noProof="0" dirty="0">
                <a:ln>
                  <a:noFill/>
                </a:ln>
                <a:solidFill>
                  <a:schemeClr val="bg1"/>
                </a:solidFill>
                <a:effectLst/>
                <a:uLnTx/>
                <a:uFillTx/>
                <a:latin typeface="IBM Plex Sans" charset="0"/>
                <a:ea typeface="IBM Plex Sans" charset="0"/>
                <a:cs typeface="IBM Plex Sans" charset="0"/>
              </a:rPr>
              <a:t>Reporting &amp; measurement of success </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lang="en-US" kern="1200" dirty="0">
                <a:solidFill>
                  <a:schemeClr val="bg1"/>
                </a:solidFill>
                <a:latin typeface="IBM Plex Sans" charset="0"/>
                <a:ea typeface="IBM Plex Sans" charset="0"/>
                <a:cs typeface="IBM Plex Sans" charset="0"/>
              </a:rPr>
              <a:t>Demonstration of value out of IBM Cloud Pak offerings</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lang="en-US" kern="1200" dirty="0">
                <a:solidFill>
                  <a:schemeClr val="bg1"/>
                </a:solidFill>
                <a:latin typeface="IBM Plex Sans" charset="0"/>
                <a:ea typeface="IBM Plex Sans" charset="0"/>
                <a:cs typeface="IBM Plex Sans" charset="0"/>
              </a:rPr>
              <a:t>Identification of new use cases</a:t>
            </a:r>
            <a:r>
              <a:rPr kumimoji="0" lang="en-US" b="0" i="0" u="none" strike="noStrike" kern="1200" cap="none" spc="0" normalizeH="0" baseline="0" noProof="0" dirty="0">
                <a:ln>
                  <a:noFill/>
                </a:ln>
                <a:solidFill>
                  <a:schemeClr val="bg1"/>
                </a:solidFill>
                <a:effectLst/>
                <a:uLnTx/>
                <a:uFillTx/>
                <a:latin typeface="IBM Plex Sans" charset="0"/>
                <a:ea typeface="IBM Plex Sans" charset="0"/>
                <a:cs typeface="IBM Plex Sans" charset="0"/>
              </a:rPr>
              <a:t> </a:t>
            </a:r>
            <a:r>
              <a:rPr lang="en-US" kern="1200" dirty="0">
                <a:solidFill>
                  <a:schemeClr val="bg1"/>
                </a:solidFill>
                <a:latin typeface="IBM Plex Sans" charset="0"/>
                <a:ea typeface="IBM Plex Sans" charset="0"/>
                <a:cs typeface="IBM Plex Sans" charset="0"/>
              </a:rPr>
              <a:t>enabling s                  s</a:t>
            </a:r>
            <a:r>
              <a:rPr kumimoji="0" lang="en-US" b="0" i="0" u="none" strike="noStrike" kern="1200" cap="none" spc="0" normalizeH="0" baseline="0" noProof="0" dirty="0" err="1">
                <a:ln>
                  <a:noFill/>
                </a:ln>
                <a:solidFill>
                  <a:schemeClr val="bg1"/>
                </a:solidFill>
                <a:effectLst/>
                <a:uLnTx/>
                <a:uFillTx/>
                <a:latin typeface="IBM Plex Sans" charset="0"/>
                <a:ea typeface="IBM Plex Sans" charset="0"/>
                <a:cs typeface="IBM Plex Sans" charset="0"/>
              </a:rPr>
              <a:t>trategic</a:t>
            </a:r>
            <a:r>
              <a:rPr lang="en-US" kern="1200" dirty="0">
                <a:solidFill>
                  <a:schemeClr val="bg1"/>
                </a:solidFill>
                <a:latin typeface="IBM Plex Sans" charset="0"/>
                <a:ea typeface="IBM Plex Sans" charset="0"/>
                <a:cs typeface="IBM Plex Sans" charset="0"/>
              </a:rPr>
              <a:t> initiatives</a:t>
            </a:r>
            <a:endParaRPr kumimoji="0" lang="en-US" b="0" i="0" u="none" strike="noStrike" kern="1200" cap="none" spc="0" normalizeH="0" baseline="0" noProof="0" dirty="0">
              <a:ln>
                <a:noFill/>
              </a:ln>
              <a:solidFill>
                <a:schemeClr val="bg1"/>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1"/>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sp>
        <p:nvSpPr>
          <p:cNvPr id="79" name="Rectangle 78">
            <a:extLst>
              <a:ext uri="{FF2B5EF4-FFF2-40B4-BE49-F238E27FC236}">
                <a16:creationId xmlns:a16="http://schemas.microsoft.com/office/drawing/2014/main" id="{9DF4C3CB-1A0B-37C8-4374-87583E51270B}"/>
              </a:ext>
            </a:extLst>
          </p:cNvPr>
          <p:cNvSpPr/>
          <p:nvPr/>
        </p:nvSpPr>
        <p:spPr>
          <a:xfrm>
            <a:off x="7267922" y="11521937"/>
            <a:ext cx="4632597" cy="448398"/>
          </a:xfrm>
          <a:prstGeom prst="rect">
            <a:avLst/>
          </a:prstGeom>
          <a:solidFill>
            <a:schemeClr val="bg2">
              <a:lumMod val="1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rgbClr val="059AFA"/>
                </a:solidFill>
                <a:latin typeface="IBM Plex Sans" panose="020B0503050203000203" pitchFamily="34" charset="0"/>
              </a:rPr>
              <a:t>IBM Best Practices</a:t>
            </a:r>
          </a:p>
        </p:txBody>
      </p:sp>
      <p:pic>
        <p:nvPicPr>
          <p:cNvPr id="80" name="Picture 79">
            <a:extLst>
              <a:ext uri="{FF2B5EF4-FFF2-40B4-BE49-F238E27FC236}">
                <a16:creationId xmlns:a16="http://schemas.microsoft.com/office/drawing/2014/main" id="{4DD3F7E2-00FE-3E52-33E3-935773B06CD9}"/>
              </a:ext>
            </a:extLst>
          </p:cNvPr>
          <p:cNvPicPr>
            <a:picLocks noChangeAspect="1"/>
          </p:cNvPicPr>
          <p:nvPr/>
        </p:nvPicPr>
        <p:blipFill>
          <a:blip r:embed="rId11"/>
          <a:stretch>
            <a:fillRect/>
          </a:stretch>
        </p:blipFill>
        <p:spPr>
          <a:xfrm>
            <a:off x="4552224" y="8985558"/>
            <a:ext cx="2514438" cy="623117"/>
          </a:xfrm>
          <a:prstGeom prst="rect">
            <a:avLst/>
          </a:prstGeom>
        </p:spPr>
      </p:pic>
      <p:grpSp>
        <p:nvGrpSpPr>
          <p:cNvPr id="81" name="Group 80">
            <a:extLst>
              <a:ext uri="{FF2B5EF4-FFF2-40B4-BE49-F238E27FC236}">
                <a16:creationId xmlns:a16="http://schemas.microsoft.com/office/drawing/2014/main" id="{CD5F5B94-E07C-4753-7D3C-8CF766778473}"/>
              </a:ext>
            </a:extLst>
          </p:cNvPr>
          <p:cNvGrpSpPr/>
          <p:nvPr/>
        </p:nvGrpSpPr>
        <p:grpSpPr>
          <a:xfrm>
            <a:off x="326089" y="1677131"/>
            <a:ext cx="18611243" cy="6477179"/>
            <a:chOff x="326089" y="2225772"/>
            <a:chExt cx="18611243" cy="6087760"/>
          </a:xfrm>
        </p:grpSpPr>
        <p:grpSp>
          <p:nvGrpSpPr>
            <p:cNvPr id="82" name="Group 81">
              <a:extLst>
                <a:ext uri="{FF2B5EF4-FFF2-40B4-BE49-F238E27FC236}">
                  <a16:creationId xmlns:a16="http://schemas.microsoft.com/office/drawing/2014/main" id="{E04A97E5-2A31-54E3-6856-D0DAE1450604}"/>
                </a:ext>
              </a:extLst>
            </p:cNvPr>
            <p:cNvGrpSpPr/>
            <p:nvPr/>
          </p:nvGrpSpPr>
          <p:grpSpPr>
            <a:xfrm>
              <a:off x="326089" y="2844282"/>
              <a:ext cx="4669295" cy="5469250"/>
              <a:chOff x="353538" y="2844282"/>
              <a:chExt cx="4280684" cy="4843624"/>
            </a:xfrm>
          </p:grpSpPr>
          <p:sp>
            <p:nvSpPr>
              <p:cNvPr id="102" name="Rounded Rectangle 101">
                <a:extLst>
                  <a:ext uri="{FF2B5EF4-FFF2-40B4-BE49-F238E27FC236}">
                    <a16:creationId xmlns:a16="http://schemas.microsoft.com/office/drawing/2014/main" id="{57F38666-9096-F158-E761-EB1D23AA8545}"/>
                  </a:ext>
                </a:extLst>
              </p:cNvPr>
              <p:cNvSpPr/>
              <p:nvPr/>
            </p:nvSpPr>
            <p:spPr bwMode="auto">
              <a:xfrm>
                <a:off x="353538" y="4656556"/>
                <a:ext cx="4228124" cy="3031350"/>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algn="l"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Outcomes</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Understanding of your pain points/ challenges and business objectives </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lang="en-US" kern="1200" dirty="0">
                    <a:solidFill>
                      <a:schemeClr val="bg2">
                        <a:lumMod val="10000"/>
                      </a:schemeClr>
                    </a:solidFill>
                    <a:latin typeface="IBM Plex Sans" charset="0"/>
                    <a:ea typeface="IBM Plex Sans" charset="0"/>
                    <a:cs typeface="IBM Plex Sans" charset="0"/>
                  </a:rPr>
                  <a:t>List of use cases and prioritization </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lang="en-US" kern="1200" dirty="0">
                    <a:solidFill>
                      <a:schemeClr val="bg2">
                        <a:lumMod val="10000"/>
                      </a:schemeClr>
                    </a:solidFill>
                    <a:latin typeface="IBM Plex Sans" charset="0"/>
                    <a:ea typeface="IBM Plex Sans" charset="0"/>
                    <a:cs typeface="IBM Plex Sans" charset="0"/>
                  </a:rPr>
                  <a:t>Definition of success criteria </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IBM Enterprise Design Thinking</a:t>
                </a:r>
              </a:p>
            </p:txBody>
          </p:sp>
          <p:sp>
            <p:nvSpPr>
              <p:cNvPr id="103" name="Rectangle 102">
                <a:extLst>
                  <a:ext uri="{FF2B5EF4-FFF2-40B4-BE49-F238E27FC236}">
                    <a16:creationId xmlns:a16="http://schemas.microsoft.com/office/drawing/2014/main" id="{C3ED0D53-6FA8-4053-8BD4-8AED29BFB4CC}"/>
                  </a:ext>
                </a:extLst>
              </p:cNvPr>
              <p:cNvSpPr/>
              <p:nvPr/>
            </p:nvSpPr>
            <p:spPr>
              <a:xfrm>
                <a:off x="383475" y="2844282"/>
                <a:ext cx="4250747" cy="998925"/>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ONBOARD</a:t>
                </a:r>
              </a:p>
            </p:txBody>
          </p:sp>
          <p:cxnSp>
            <p:nvCxnSpPr>
              <p:cNvPr id="104" name="Straight Connector 103">
                <a:extLst>
                  <a:ext uri="{FF2B5EF4-FFF2-40B4-BE49-F238E27FC236}">
                    <a16:creationId xmlns:a16="http://schemas.microsoft.com/office/drawing/2014/main" id="{CA4A7986-0977-8BC9-8E58-E15DB7AB3C63}"/>
                  </a:ext>
                </a:extLst>
              </p:cNvPr>
              <p:cNvCxnSpPr>
                <a:cxnSpLocks/>
              </p:cNvCxnSpPr>
              <p:nvPr/>
            </p:nvCxnSpPr>
            <p:spPr bwMode="auto">
              <a:xfrm>
                <a:off x="2470414" y="3856853"/>
                <a:ext cx="0" cy="738968"/>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grpSp>
          <p:nvGrpSpPr>
            <p:cNvPr id="83" name="Group 82">
              <a:extLst>
                <a:ext uri="{FF2B5EF4-FFF2-40B4-BE49-F238E27FC236}">
                  <a16:creationId xmlns:a16="http://schemas.microsoft.com/office/drawing/2014/main" id="{7BF8C52B-7586-67A2-E49A-15DF3BCF45CF}"/>
                </a:ext>
              </a:extLst>
            </p:cNvPr>
            <p:cNvGrpSpPr/>
            <p:nvPr/>
          </p:nvGrpSpPr>
          <p:grpSpPr>
            <a:xfrm>
              <a:off x="388620" y="2225772"/>
              <a:ext cx="18548712" cy="5200926"/>
              <a:chOff x="388620" y="2225772"/>
              <a:chExt cx="18548712" cy="5200926"/>
            </a:xfrm>
          </p:grpSpPr>
          <p:sp>
            <p:nvSpPr>
              <p:cNvPr id="84" name="Right Arrow 83">
                <a:extLst>
                  <a:ext uri="{FF2B5EF4-FFF2-40B4-BE49-F238E27FC236}">
                    <a16:creationId xmlns:a16="http://schemas.microsoft.com/office/drawing/2014/main" id="{73F1E1B7-474D-E124-002C-3764A50B0B3F}"/>
                  </a:ext>
                </a:extLst>
              </p:cNvPr>
              <p:cNvSpPr/>
              <p:nvPr/>
            </p:nvSpPr>
            <p:spPr bwMode="auto">
              <a:xfrm>
                <a:off x="388620" y="2225772"/>
                <a:ext cx="18548712" cy="605320"/>
              </a:xfrm>
              <a:prstGeom prst="rightArrow">
                <a:avLst/>
              </a:prstGeom>
              <a:solidFill>
                <a:srgbClr val="0070C0"/>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grpSp>
            <p:nvGrpSpPr>
              <p:cNvPr id="85" name="Group 84">
                <a:extLst>
                  <a:ext uri="{FF2B5EF4-FFF2-40B4-BE49-F238E27FC236}">
                    <a16:creationId xmlns:a16="http://schemas.microsoft.com/office/drawing/2014/main" id="{F0ADC912-DB6D-7E5B-D5D0-2CF561BE9908}"/>
                  </a:ext>
                </a:extLst>
              </p:cNvPr>
              <p:cNvGrpSpPr/>
              <p:nvPr/>
            </p:nvGrpSpPr>
            <p:grpSpPr>
              <a:xfrm>
                <a:off x="5163016" y="2854588"/>
                <a:ext cx="4319090" cy="4572110"/>
                <a:chOff x="655919" y="2844282"/>
                <a:chExt cx="4319090" cy="4594233"/>
              </a:xfrm>
            </p:grpSpPr>
            <p:sp>
              <p:nvSpPr>
                <p:cNvPr id="99" name="Rounded Rectangle 98">
                  <a:extLst>
                    <a:ext uri="{FF2B5EF4-FFF2-40B4-BE49-F238E27FC236}">
                      <a16:creationId xmlns:a16="http://schemas.microsoft.com/office/drawing/2014/main" id="{DE837E90-79CF-C5E7-DF06-E7F589FFC685}"/>
                    </a:ext>
                  </a:extLst>
                </p:cNvPr>
                <p:cNvSpPr/>
                <p:nvPr/>
              </p:nvSpPr>
              <p:spPr bwMode="auto">
                <a:xfrm>
                  <a:off x="724262" y="4932694"/>
                  <a:ext cx="4250747" cy="2505821"/>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l" defTabSz="685983" hangingPunct="1"/>
                  <a:r>
                    <a:rPr lang="en-US" b="1" kern="1200" dirty="0">
                      <a:solidFill>
                        <a:schemeClr val="bg2">
                          <a:lumMod val="10000"/>
                        </a:schemeClr>
                      </a:solidFill>
                      <a:latin typeface="IBM Plex Sans" charset="0"/>
                      <a:ea typeface="IBM Plex Sans" charset="0"/>
                      <a:cs typeface="IBM Plex Sans" charset="0"/>
                    </a:rPr>
                    <a:t>Outcomes</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MVP Architecture</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Sign-off for MVP Build</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System readiness </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Running MVP </a:t>
                  </a:r>
                </a:p>
                <a:p>
                  <a:pPr algn="l" defTabSz="685983" hangingPunct="1"/>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R="0" algn="l" defTabSz="685983" rtl="0" eaLnBrk="1" fontAlgn="auto" latinLnBrk="0" hangingPunct="1">
                    <a:lnSpc>
                      <a:spcPct val="100000"/>
                    </a:lnSpc>
                    <a:spcBef>
                      <a:spcPts val="0"/>
                    </a:spcBef>
                    <a:spcAft>
                      <a:spcPts val="0"/>
                    </a:spcAft>
                    <a:buClrTx/>
                    <a:buSzTx/>
                    <a:tabLst/>
                  </a:pPr>
                  <a:endParaRPr kumimoji="0" lang="en-US"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algn="l" defTabSz="685983" hangingPunct="1"/>
                  <a:endParaRPr lang="en-US" kern="1200" dirty="0">
                    <a:solidFill>
                      <a:schemeClr val="bg2">
                        <a:lumMod val="10000"/>
                      </a:schemeClr>
                    </a:solidFill>
                    <a:latin typeface="IBM Plex Sans" charset="0"/>
                    <a:ea typeface="IBM Plex Sans" charset="0"/>
                    <a:cs typeface="IBM Plex Sans" charset="0"/>
                  </a:endParaRPr>
                </a:p>
              </p:txBody>
            </p:sp>
            <p:sp>
              <p:nvSpPr>
                <p:cNvPr id="100" name="Rectangle 99">
                  <a:extLst>
                    <a:ext uri="{FF2B5EF4-FFF2-40B4-BE49-F238E27FC236}">
                      <a16:creationId xmlns:a16="http://schemas.microsoft.com/office/drawing/2014/main" id="{12A5E344-9C28-0334-5219-579C13BB97EA}"/>
                    </a:ext>
                  </a:extLst>
                </p:cNvPr>
                <p:cNvSpPr/>
                <p:nvPr/>
              </p:nvSpPr>
              <p:spPr>
                <a:xfrm>
                  <a:off x="655919" y="2844282"/>
                  <a:ext cx="4250747" cy="1121402"/>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BUILD &amp; </a:t>
                  </a:r>
                </a:p>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DEPLOY</a:t>
                  </a:r>
                </a:p>
              </p:txBody>
            </p:sp>
            <p:cxnSp>
              <p:nvCxnSpPr>
                <p:cNvPr id="101" name="Straight Connector 100">
                  <a:extLst>
                    <a:ext uri="{FF2B5EF4-FFF2-40B4-BE49-F238E27FC236}">
                      <a16:creationId xmlns:a16="http://schemas.microsoft.com/office/drawing/2014/main" id="{0D8DF4B8-B327-1C61-E72F-A5CF6F1F9912}"/>
                    </a:ext>
                  </a:extLst>
                </p:cNvPr>
                <p:cNvCxnSpPr>
                  <a:cxnSpLocks/>
                </p:cNvCxnSpPr>
                <p:nvPr/>
              </p:nvCxnSpPr>
              <p:spPr bwMode="auto">
                <a:xfrm>
                  <a:off x="2851452" y="3998568"/>
                  <a:ext cx="0" cy="905167"/>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grpSp>
            <p:nvGrpSpPr>
              <p:cNvPr id="86" name="Group 85">
                <a:extLst>
                  <a:ext uri="{FF2B5EF4-FFF2-40B4-BE49-F238E27FC236}">
                    <a16:creationId xmlns:a16="http://schemas.microsoft.com/office/drawing/2014/main" id="{1B96F697-B728-7038-0223-0F806B2FBB86}"/>
                  </a:ext>
                </a:extLst>
              </p:cNvPr>
              <p:cNvGrpSpPr/>
              <p:nvPr/>
            </p:nvGrpSpPr>
            <p:grpSpPr>
              <a:xfrm>
                <a:off x="9619906" y="2834482"/>
                <a:ext cx="4273370" cy="4175113"/>
                <a:chOff x="655919" y="2844282"/>
                <a:chExt cx="4273370" cy="4175113"/>
              </a:xfrm>
            </p:grpSpPr>
            <p:sp>
              <p:nvSpPr>
                <p:cNvPr id="96" name="Rounded Rectangle 95">
                  <a:extLst>
                    <a:ext uri="{FF2B5EF4-FFF2-40B4-BE49-F238E27FC236}">
                      <a16:creationId xmlns:a16="http://schemas.microsoft.com/office/drawing/2014/main" id="{9E8CD758-B757-9B74-B1E5-D4DA56622D08}"/>
                    </a:ext>
                  </a:extLst>
                </p:cNvPr>
                <p:cNvSpPr/>
                <p:nvPr/>
              </p:nvSpPr>
              <p:spPr bwMode="auto">
                <a:xfrm>
                  <a:off x="678542" y="4932694"/>
                  <a:ext cx="4250747" cy="2086701"/>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l" defTabSz="685983" hangingPunct="1"/>
                  <a:r>
                    <a:rPr lang="en-US" b="1" kern="1200" dirty="0">
                      <a:solidFill>
                        <a:schemeClr val="bg2">
                          <a:lumMod val="10000"/>
                        </a:schemeClr>
                      </a:solidFill>
                      <a:latin typeface="IBM Plex Sans" charset="0"/>
                      <a:ea typeface="IBM Plex Sans" charset="0"/>
                      <a:cs typeface="IBM Plex Sans" charset="0"/>
                    </a:rPr>
                    <a:t>Outcomes</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Production Architecture </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Production Workload</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Measurement against MVP </a:t>
                  </a:r>
                </a:p>
                <a:p>
                  <a:pPr marL="342900" indent="-342900" algn="l" defTabSz="685983" hangingPunct="1">
                    <a:buFont typeface="Wingdings" pitchFamily="2" charset="2"/>
                    <a:buChar char="ü"/>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R="0" algn="l" defTabSz="685983" rtl="0" eaLnBrk="1" fontAlgn="auto" latinLnBrk="0" hangingPunct="1">
                    <a:lnSpc>
                      <a:spcPct val="100000"/>
                    </a:lnSpc>
                    <a:spcBef>
                      <a:spcPts val="0"/>
                    </a:spcBef>
                    <a:spcAft>
                      <a:spcPts val="0"/>
                    </a:spcAft>
                    <a:buClrTx/>
                    <a:buSzTx/>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p:txBody>
            </p:sp>
            <p:sp>
              <p:nvSpPr>
                <p:cNvPr id="97" name="Rectangle 96">
                  <a:extLst>
                    <a:ext uri="{FF2B5EF4-FFF2-40B4-BE49-F238E27FC236}">
                      <a16:creationId xmlns:a16="http://schemas.microsoft.com/office/drawing/2014/main" id="{01A8A352-C17D-133D-783A-93190AE50B5D}"/>
                    </a:ext>
                  </a:extLst>
                </p:cNvPr>
                <p:cNvSpPr/>
                <p:nvPr/>
              </p:nvSpPr>
              <p:spPr>
                <a:xfrm>
                  <a:off x="655919" y="2844282"/>
                  <a:ext cx="4250747" cy="1121402"/>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ADOPT &amp; </a:t>
                  </a:r>
                </a:p>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IMPLEMENT</a:t>
                  </a:r>
                </a:p>
              </p:txBody>
            </p:sp>
            <p:cxnSp>
              <p:nvCxnSpPr>
                <p:cNvPr id="98" name="Straight Connector 97">
                  <a:extLst>
                    <a:ext uri="{FF2B5EF4-FFF2-40B4-BE49-F238E27FC236}">
                      <a16:creationId xmlns:a16="http://schemas.microsoft.com/office/drawing/2014/main" id="{F2C725DE-FA85-0FC5-0696-7B712FF6A80C}"/>
                    </a:ext>
                  </a:extLst>
                </p:cNvPr>
                <p:cNvCxnSpPr>
                  <a:cxnSpLocks/>
                </p:cNvCxnSpPr>
                <p:nvPr/>
              </p:nvCxnSpPr>
              <p:spPr bwMode="auto">
                <a:xfrm>
                  <a:off x="2805732" y="3998568"/>
                  <a:ext cx="0" cy="905167"/>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grpSp>
            <p:nvGrpSpPr>
              <p:cNvPr id="87" name="Group 86">
                <a:extLst>
                  <a:ext uri="{FF2B5EF4-FFF2-40B4-BE49-F238E27FC236}">
                    <a16:creationId xmlns:a16="http://schemas.microsoft.com/office/drawing/2014/main" id="{66EEC670-508E-A8B8-F4E4-1E7B8FFF57A4}"/>
                  </a:ext>
                </a:extLst>
              </p:cNvPr>
              <p:cNvGrpSpPr/>
              <p:nvPr/>
            </p:nvGrpSpPr>
            <p:grpSpPr>
              <a:xfrm>
                <a:off x="14025056" y="2833372"/>
                <a:ext cx="4273370" cy="4511802"/>
                <a:chOff x="655919" y="2844282"/>
                <a:chExt cx="4273370" cy="4511802"/>
              </a:xfrm>
            </p:grpSpPr>
            <p:sp>
              <p:nvSpPr>
                <p:cNvPr id="93" name="Rounded Rectangle 92">
                  <a:extLst>
                    <a:ext uri="{FF2B5EF4-FFF2-40B4-BE49-F238E27FC236}">
                      <a16:creationId xmlns:a16="http://schemas.microsoft.com/office/drawing/2014/main" id="{607AF0AD-7007-94D1-FE1E-4F6B7D1FA32E}"/>
                    </a:ext>
                  </a:extLst>
                </p:cNvPr>
                <p:cNvSpPr/>
                <p:nvPr/>
              </p:nvSpPr>
              <p:spPr bwMode="auto">
                <a:xfrm>
                  <a:off x="678542" y="4932693"/>
                  <a:ext cx="4250747" cy="2423391"/>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algn="l"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Outcomes</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Identification of ad</a:t>
                  </a:r>
                  <a:r>
                    <a:rPr kumimoji="0" lang="en-US" b="0" i="0" u="none" strike="noStrike" kern="1200" cap="none" spc="0" normalizeH="0" baseline="0" noProof="0" dirty="0" err="1">
                      <a:ln>
                        <a:noFill/>
                      </a:ln>
                      <a:solidFill>
                        <a:schemeClr val="bg2">
                          <a:lumMod val="10000"/>
                        </a:schemeClr>
                      </a:solidFill>
                      <a:effectLst/>
                      <a:uLnTx/>
                      <a:uFillTx/>
                      <a:latin typeface="IBM Plex Sans" charset="0"/>
                      <a:ea typeface="IBM Plex Sans" charset="0"/>
                      <a:cs typeface="IBM Plex Sans" charset="0"/>
                    </a:rPr>
                    <a:t>ditional</a:t>
                  </a:r>
                  <a:r>
                    <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 deployments opportunities</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Qualification of new use cases</a:t>
                  </a: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sp>
              <p:nvSpPr>
                <p:cNvPr id="94" name="Rectangle 93">
                  <a:extLst>
                    <a:ext uri="{FF2B5EF4-FFF2-40B4-BE49-F238E27FC236}">
                      <a16:creationId xmlns:a16="http://schemas.microsoft.com/office/drawing/2014/main" id="{73D9D602-29AF-DEB2-3BF8-BD7BC90CC081}"/>
                    </a:ext>
                  </a:extLst>
                </p:cNvPr>
                <p:cNvSpPr/>
                <p:nvPr/>
              </p:nvSpPr>
              <p:spPr>
                <a:xfrm>
                  <a:off x="655919" y="2844282"/>
                  <a:ext cx="4250747" cy="1121402"/>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SCALE &amp; EXPAND</a:t>
                  </a:r>
                </a:p>
              </p:txBody>
            </p:sp>
            <p:cxnSp>
              <p:nvCxnSpPr>
                <p:cNvPr id="95" name="Straight Connector 94">
                  <a:extLst>
                    <a:ext uri="{FF2B5EF4-FFF2-40B4-BE49-F238E27FC236}">
                      <a16:creationId xmlns:a16="http://schemas.microsoft.com/office/drawing/2014/main" id="{F614D19E-EFAE-5CEE-62A6-D4827696A6E4}"/>
                    </a:ext>
                  </a:extLst>
                </p:cNvPr>
                <p:cNvCxnSpPr>
                  <a:cxnSpLocks/>
                </p:cNvCxnSpPr>
                <p:nvPr/>
              </p:nvCxnSpPr>
              <p:spPr bwMode="auto">
                <a:xfrm>
                  <a:off x="2805732" y="3998568"/>
                  <a:ext cx="0" cy="905167"/>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pic>
            <p:nvPicPr>
              <p:cNvPr id="88" name="Graphic 87" descr="Tick with solid fill">
                <a:extLst>
                  <a:ext uri="{FF2B5EF4-FFF2-40B4-BE49-F238E27FC236}">
                    <a16:creationId xmlns:a16="http://schemas.microsoft.com/office/drawing/2014/main" id="{AAA5EC0E-BFFE-67E1-5016-39B67E1BCDB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583839" y="3909054"/>
                <a:ext cx="637118" cy="562816"/>
              </a:xfrm>
              <a:prstGeom prst="rect">
                <a:avLst/>
              </a:prstGeom>
            </p:spPr>
          </p:pic>
          <p:sp>
            <p:nvSpPr>
              <p:cNvPr id="89" name="Rectangle 88">
                <a:extLst>
                  <a:ext uri="{FF2B5EF4-FFF2-40B4-BE49-F238E27FC236}">
                    <a16:creationId xmlns:a16="http://schemas.microsoft.com/office/drawing/2014/main" id="{8651E930-4A2A-DD02-432D-2239A4622B54}"/>
                  </a:ext>
                </a:extLst>
              </p:cNvPr>
              <p:cNvSpPr/>
              <p:nvPr/>
            </p:nvSpPr>
            <p:spPr>
              <a:xfrm>
                <a:off x="1765863" y="4063838"/>
                <a:ext cx="4632597" cy="4483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sz="1800" kern="1200" dirty="0">
                    <a:solidFill>
                      <a:schemeClr val="bg2">
                        <a:lumMod val="10000"/>
                      </a:schemeClr>
                    </a:solidFill>
                    <a:latin typeface="IBM Plex Sans" panose="020B0503050203000203" pitchFamily="34" charset="0"/>
                  </a:rPr>
                  <a:t>Q-GATE</a:t>
                </a:r>
              </a:p>
            </p:txBody>
          </p:sp>
          <p:pic>
            <p:nvPicPr>
              <p:cNvPr id="90" name="Graphic 89" descr="Tick with solid fill">
                <a:extLst>
                  <a:ext uri="{FF2B5EF4-FFF2-40B4-BE49-F238E27FC236}">
                    <a16:creationId xmlns:a16="http://schemas.microsoft.com/office/drawing/2014/main" id="{EEF4AB80-E8E5-A146-983E-243B466F39E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012095" y="3926572"/>
                <a:ext cx="637118" cy="562816"/>
              </a:xfrm>
              <a:prstGeom prst="rect">
                <a:avLst/>
              </a:prstGeom>
            </p:spPr>
          </p:pic>
          <p:pic>
            <p:nvPicPr>
              <p:cNvPr id="91" name="Graphic 90" descr="Tick with solid fill">
                <a:extLst>
                  <a:ext uri="{FF2B5EF4-FFF2-40B4-BE49-F238E27FC236}">
                    <a16:creationId xmlns:a16="http://schemas.microsoft.com/office/drawing/2014/main" id="{ED14A5AC-A003-B1CA-B151-DAD8D7EE66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422751" y="3881386"/>
                <a:ext cx="637118" cy="562816"/>
              </a:xfrm>
              <a:prstGeom prst="rect">
                <a:avLst/>
              </a:prstGeom>
            </p:spPr>
          </p:pic>
          <p:pic>
            <p:nvPicPr>
              <p:cNvPr id="92" name="Graphic 91" descr="Tick with solid fill">
                <a:extLst>
                  <a:ext uri="{FF2B5EF4-FFF2-40B4-BE49-F238E27FC236}">
                    <a16:creationId xmlns:a16="http://schemas.microsoft.com/office/drawing/2014/main" id="{A3D6FDB7-E06F-5965-BDAE-C1CDA00A334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7682299" y="3908447"/>
                <a:ext cx="637118" cy="562816"/>
              </a:xfrm>
              <a:prstGeom prst="rect">
                <a:avLst/>
              </a:prstGeom>
            </p:spPr>
          </p:pic>
        </p:grpSp>
      </p:grpSp>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Our Engagement Model</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106" name="Oval 105">
            <a:extLst>
              <a:ext uri="{FF2B5EF4-FFF2-40B4-BE49-F238E27FC236}">
                <a16:creationId xmlns:a16="http://schemas.microsoft.com/office/drawing/2014/main" id="{94EC7025-F33C-6C86-0139-D79CB9B68020}"/>
              </a:ext>
            </a:extLst>
          </p:cNvPr>
          <p:cNvSpPr/>
          <p:nvPr/>
        </p:nvSpPr>
        <p:spPr bwMode="auto">
          <a:xfrm>
            <a:off x="-562230" y="7583511"/>
            <a:ext cx="12787396" cy="6984660"/>
          </a:xfrm>
          <a:prstGeom prst="ellipse">
            <a:avLst/>
          </a:prstGeom>
          <a:noFill/>
          <a:ln w="53975">
            <a:solidFill>
              <a:srgbClr val="00B0F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pic>
        <p:nvPicPr>
          <p:cNvPr id="107" name="Picture 106">
            <a:extLst>
              <a:ext uri="{FF2B5EF4-FFF2-40B4-BE49-F238E27FC236}">
                <a16:creationId xmlns:a16="http://schemas.microsoft.com/office/drawing/2014/main" id="{831B6CDB-EB09-39E6-802D-4E3AB73DF878}"/>
              </a:ext>
            </a:extLst>
          </p:cNvPr>
          <p:cNvPicPr>
            <a:picLocks noChangeAspect="1"/>
          </p:cNvPicPr>
          <p:nvPr/>
        </p:nvPicPr>
        <p:blipFill>
          <a:blip r:embed="rId14"/>
          <a:stretch>
            <a:fillRect/>
          </a:stretch>
        </p:blipFill>
        <p:spPr>
          <a:xfrm>
            <a:off x="17352268" y="11627374"/>
            <a:ext cx="1433976" cy="410841"/>
          </a:xfrm>
          <a:prstGeom prst="rect">
            <a:avLst/>
          </a:prstGeom>
        </p:spPr>
      </p:pic>
      <p:sp>
        <p:nvSpPr>
          <p:cNvPr id="78" name="Process 77">
            <a:extLst>
              <a:ext uri="{FF2B5EF4-FFF2-40B4-BE49-F238E27FC236}">
                <a16:creationId xmlns:a16="http://schemas.microsoft.com/office/drawing/2014/main" id="{A79BFCA3-6331-1C4B-68D9-637A29440BE7}"/>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extLst>
      <p:ext uri="{BB962C8B-B14F-4D97-AF65-F5344CB8AC3E}">
        <p14:creationId xmlns:p14="http://schemas.microsoft.com/office/powerpoint/2010/main" val="825464609"/>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22649198" y="267855"/>
            <a:ext cx="1460258" cy="1096702"/>
          </a:xfrm>
          <a:prstGeom prst="rect">
            <a:avLst/>
          </a:prstGeom>
        </p:spPr>
      </p:pic>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CSM Engagement | ASEANZK Strategic Initiatives</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23</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3" name="Rectangle 2">
            <a:extLst>
              <a:ext uri="{FF2B5EF4-FFF2-40B4-BE49-F238E27FC236}">
                <a16:creationId xmlns:a16="http://schemas.microsoft.com/office/drawing/2014/main" id="{BE888694-7AF1-737B-B35C-D49977FC4D49}"/>
              </a:ext>
            </a:extLst>
          </p:cNvPr>
          <p:cNvSpPr/>
          <p:nvPr/>
        </p:nvSpPr>
        <p:spPr>
          <a:xfrm>
            <a:off x="4746699" y="2779960"/>
            <a:ext cx="16259788" cy="7571303"/>
          </a:xfrm>
          <a:prstGeom prst="rect">
            <a:avLst/>
          </a:prstGeom>
        </p:spPr>
        <p:txBody>
          <a:bodyPr wrap="square">
            <a:spAutoFit/>
          </a:bodyPr>
          <a:lstStyle/>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ü"/>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t>Consolidated CSM Strategic Engagement Initiatives </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t>In ref. </a:t>
            </a: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hlinkClick r:id="rId4"/>
              </a:rPr>
              <a:t>CSM Use Cases</a:t>
            </a: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t> in resonance with Customer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 Industry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 Entitlements / IBM Technology &amp; Cloud </a:t>
            </a:r>
            <a:r>
              <a:rPr kumimoji="0" lang="en-US" sz="4800" b="0" i="0" u="none" strike="noStrike" kern="0" cap="none" spc="0" normalizeH="0" baseline="0" noProof="0" dirty="0" err="1">
                <a:ln>
                  <a:noFill/>
                </a:ln>
                <a:solidFill>
                  <a:srgbClr val="5E5E5E"/>
                </a:solidFill>
                <a:effectLst/>
                <a:uLnTx/>
                <a:uFillTx/>
                <a:latin typeface="Helvetica Neue"/>
                <a:ea typeface="Helvetica Neue"/>
                <a:cs typeface="Helvetica Neue"/>
                <a:sym typeface="Wingdings" pitchFamily="2" charset="2"/>
              </a:rPr>
              <a:t>Paks</a:t>
            </a:r>
            <a:endPar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endParaRP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endPar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endParaRP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E.g.: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Government, Banking, Insurance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Data AI, Automation, Modernization to Cloud-native architecture,..</a:t>
            </a:r>
            <a:endPar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endParaRP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54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t>   </a:t>
            </a:r>
          </a:p>
        </p:txBody>
      </p:sp>
      <p:sp>
        <p:nvSpPr>
          <p:cNvPr id="16" name="Star">
            <a:extLst>
              <a:ext uri="{FF2B5EF4-FFF2-40B4-BE49-F238E27FC236}">
                <a16:creationId xmlns:a16="http://schemas.microsoft.com/office/drawing/2014/main" id="{E82795F0-8DA9-43C6-8D8E-58790891F655}"/>
              </a:ext>
            </a:extLst>
          </p:cNvPr>
          <p:cNvSpPr/>
          <p:nvPr/>
        </p:nvSpPr>
        <p:spPr>
          <a:xfrm>
            <a:off x="635000" y="2337671"/>
            <a:ext cx="3778934" cy="1929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1">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Add</a:t>
            </a: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379466628"/>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CSM Engagement | Customer Success</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24</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3" name="Rectangle 2">
            <a:extLst>
              <a:ext uri="{FF2B5EF4-FFF2-40B4-BE49-F238E27FC236}">
                <a16:creationId xmlns:a16="http://schemas.microsoft.com/office/drawing/2014/main" id="{F86B82E1-93DD-60E6-B71A-592DB164F2A6}"/>
              </a:ext>
            </a:extLst>
          </p:cNvPr>
          <p:cNvSpPr/>
          <p:nvPr/>
        </p:nvSpPr>
        <p:spPr>
          <a:xfrm>
            <a:off x="4656010" y="2779960"/>
            <a:ext cx="17055438" cy="2862322"/>
          </a:xfrm>
          <a:prstGeom prst="rect">
            <a:avLst/>
          </a:prstGeom>
        </p:spPr>
        <p:txBody>
          <a:bodyPr wrap="none">
            <a:spAutoFit/>
          </a:bodyPr>
          <a:lstStyle/>
          <a:p>
            <a:pPr marL="571500" marR="0" lvl="0" indent="-571500" algn="ctr" defTabSz="2438338" rtl="0" eaLnBrk="1" fontAlgn="auto" latinLnBrk="0" hangingPunct="0">
              <a:lnSpc>
                <a:spcPct val="100000"/>
              </a:lnSpc>
              <a:spcBef>
                <a:spcPts val="0"/>
              </a:spcBef>
              <a:spcAft>
                <a:spcPts val="0"/>
              </a:spcAft>
              <a:buClrTx/>
              <a:buSzTx/>
              <a:buFont typeface="Wingdings" pitchFamily="2" charset="2"/>
              <a:buChar char="ü"/>
              <a:tabLst/>
              <a:defRPr/>
            </a:pPr>
            <a:r>
              <a:rPr kumimoji="0" lang="en-US" sz="48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hlinkClick r:id="rId3"/>
              </a:rPr>
              <a:t>Customer Success Stories </a:t>
            </a:r>
            <a:r>
              <a:rPr kumimoji="0" lang="en-US" sz="48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rPr>
              <a:t>in resonance </a:t>
            </a:r>
            <a:r>
              <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rPr>
              <a:t>with Customer’s one</a:t>
            </a:r>
          </a:p>
          <a:p>
            <a:pPr marL="571500" lvl="0" indent="-571500" algn="l">
              <a:buFont typeface="Wingdings" pitchFamily="2" charset="2"/>
              <a:buChar char="à"/>
              <a:defRPr/>
            </a:pPr>
            <a:r>
              <a:rPr lang="en-US" sz="4400" dirty="0">
                <a:latin typeface="IBM Plex Sans" panose="020B0503050203000203" pitchFamily="34" charset="0"/>
              </a:rPr>
              <a:t>Industry </a:t>
            </a:r>
          </a:p>
          <a:p>
            <a:pPr marL="571500" lvl="0" indent="-571500" algn="l">
              <a:buFont typeface="Wingdings" pitchFamily="2" charset="2"/>
              <a:buChar char="à"/>
              <a:defRPr/>
            </a:pPr>
            <a:r>
              <a:rPr lang="en-US" sz="4400" dirty="0">
                <a:latin typeface="IBM Plex Sans" panose="020B0503050203000203" pitchFamily="34" charset="0"/>
              </a:rPr>
              <a:t>IBM technology / solutions </a:t>
            </a:r>
          </a:p>
          <a:p>
            <a:pPr marL="571500" marR="0" lvl="0" indent="-571500" algn="ctr" defTabSz="2438338" rtl="0" eaLnBrk="1" fontAlgn="auto" latinLnBrk="0" hangingPunct="0">
              <a:lnSpc>
                <a:spcPct val="100000"/>
              </a:lnSpc>
              <a:spcBef>
                <a:spcPts val="0"/>
              </a:spcBef>
              <a:spcAft>
                <a:spcPts val="0"/>
              </a:spcAft>
              <a:buClrTx/>
              <a:buSzTx/>
              <a:buFont typeface="Wingdings" pitchFamily="2" charset="2"/>
              <a:buChar char="ü"/>
              <a:tabLst/>
              <a:defRPr/>
            </a:pPr>
            <a:endPar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endParaRPr>
          </a:p>
        </p:txBody>
      </p:sp>
      <p:pic>
        <p:nvPicPr>
          <p:cNvPr id="7" name="Picture 6">
            <a:extLst>
              <a:ext uri="{FF2B5EF4-FFF2-40B4-BE49-F238E27FC236}">
                <a16:creationId xmlns:a16="http://schemas.microsoft.com/office/drawing/2014/main" id="{E8ABCC76-2739-4413-AB88-760452F640C8}"/>
              </a:ext>
            </a:extLst>
          </p:cNvPr>
          <p:cNvPicPr>
            <a:picLocks noChangeAspect="1"/>
          </p:cNvPicPr>
          <p:nvPr/>
        </p:nvPicPr>
        <p:blipFill>
          <a:blip r:embed="rId4"/>
          <a:stretch>
            <a:fillRect/>
          </a:stretch>
        </p:blipFill>
        <p:spPr>
          <a:xfrm>
            <a:off x="22649198" y="267855"/>
            <a:ext cx="1460258" cy="1096702"/>
          </a:xfrm>
          <a:prstGeom prst="rect">
            <a:avLst/>
          </a:prstGeom>
        </p:spPr>
      </p:pic>
      <p:sp>
        <p:nvSpPr>
          <p:cNvPr id="8" name="Star">
            <a:extLst>
              <a:ext uri="{FF2B5EF4-FFF2-40B4-BE49-F238E27FC236}">
                <a16:creationId xmlns:a16="http://schemas.microsoft.com/office/drawing/2014/main" id="{31D77D4D-5C0F-672F-68EA-BED2774E0B73}"/>
              </a:ext>
            </a:extLst>
          </p:cNvPr>
          <p:cNvSpPr/>
          <p:nvPr/>
        </p:nvSpPr>
        <p:spPr>
          <a:xfrm>
            <a:off x="635000" y="2337671"/>
            <a:ext cx="3778934" cy="1929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1">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Add</a:t>
            </a: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3955494488"/>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CSM Engagement | A proven key to Success</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25</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3" name="Rectangle 2">
            <a:extLst>
              <a:ext uri="{FF2B5EF4-FFF2-40B4-BE49-F238E27FC236}">
                <a16:creationId xmlns:a16="http://schemas.microsoft.com/office/drawing/2014/main" id="{F86B82E1-93DD-60E6-B71A-592DB164F2A6}"/>
              </a:ext>
            </a:extLst>
          </p:cNvPr>
          <p:cNvSpPr/>
          <p:nvPr/>
        </p:nvSpPr>
        <p:spPr>
          <a:xfrm>
            <a:off x="4657998" y="2831732"/>
            <a:ext cx="16208283" cy="2800767"/>
          </a:xfrm>
          <a:prstGeom prst="rect">
            <a:avLst/>
          </a:prstGeom>
        </p:spPr>
        <p:txBody>
          <a:bodyPr wrap="none">
            <a:spAutoFit/>
          </a:bodyPr>
          <a:lstStyle/>
          <a:p>
            <a:pPr marL="571500" marR="0" lvl="0" indent="-571500" algn="ctr" defTabSz="2438338" rtl="0" eaLnBrk="1" fontAlgn="auto" latinLnBrk="0" hangingPunct="0">
              <a:lnSpc>
                <a:spcPct val="100000"/>
              </a:lnSpc>
              <a:spcBef>
                <a:spcPts val="0"/>
              </a:spcBef>
              <a:spcAft>
                <a:spcPts val="0"/>
              </a:spcAft>
              <a:buClrTx/>
              <a:buSzTx/>
              <a:buFont typeface="Wingdings" pitchFamily="2" charset="2"/>
              <a:buChar char="ü"/>
              <a:tabLst/>
              <a:defRPr/>
            </a:pPr>
            <a:r>
              <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rPr>
              <a:t>Dedicated </a:t>
            </a:r>
            <a:r>
              <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hlinkClick r:id="rId3"/>
              </a:rPr>
              <a:t>CSM Spotlight Stories </a:t>
            </a:r>
            <a:r>
              <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rPr>
              <a:t>in resonance with Customer</a:t>
            </a:r>
          </a:p>
          <a:p>
            <a:pPr marL="571500" lvl="0" indent="-571500" algn="l">
              <a:buFont typeface="Wingdings" pitchFamily="2" charset="2"/>
              <a:buChar char="à"/>
              <a:defRPr/>
            </a:pPr>
            <a:r>
              <a:rPr lang="en-US" sz="4400" dirty="0">
                <a:latin typeface="IBM Plex Sans" panose="020B0503050203000203" pitchFamily="34" charset="0"/>
              </a:rPr>
              <a:t>Industry </a:t>
            </a:r>
          </a:p>
          <a:p>
            <a:pPr marL="571500" lvl="0" indent="-571500" algn="l">
              <a:buFont typeface="Wingdings" pitchFamily="2" charset="2"/>
              <a:buChar char="à"/>
              <a:defRPr/>
            </a:pPr>
            <a:r>
              <a:rPr lang="en-US" sz="4400" dirty="0">
                <a:latin typeface="IBM Plex Sans" panose="020B0503050203000203" pitchFamily="34" charset="0"/>
              </a:rPr>
              <a:t>IBM technology / solutions </a:t>
            </a:r>
          </a:p>
          <a:p>
            <a:pPr marL="571500" marR="0" lvl="0" indent="-571500" algn="ctr" defTabSz="2438338" rtl="0" eaLnBrk="1" fontAlgn="auto" latinLnBrk="0" hangingPunct="0">
              <a:lnSpc>
                <a:spcPct val="100000"/>
              </a:lnSpc>
              <a:spcBef>
                <a:spcPts val="0"/>
              </a:spcBef>
              <a:spcAft>
                <a:spcPts val="0"/>
              </a:spcAft>
              <a:buClrTx/>
              <a:buSzTx/>
              <a:buFont typeface="Wingdings" pitchFamily="2" charset="2"/>
              <a:buChar char="ü"/>
              <a:tabLst/>
              <a:defRPr/>
            </a:pPr>
            <a:endPar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endParaRPr>
          </a:p>
        </p:txBody>
      </p:sp>
      <p:pic>
        <p:nvPicPr>
          <p:cNvPr id="7" name="Picture 6">
            <a:extLst>
              <a:ext uri="{FF2B5EF4-FFF2-40B4-BE49-F238E27FC236}">
                <a16:creationId xmlns:a16="http://schemas.microsoft.com/office/drawing/2014/main" id="{60B80817-26A7-E014-0AA9-B7AFA5A2B8EC}"/>
              </a:ext>
            </a:extLst>
          </p:cNvPr>
          <p:cNvPicPr>
            <a:picLocks noChangeAspect="1"/>
          </p:cNvPicPr>
          <p:nvPr/>
        </p:nvPicPr>
        <p:blipFill>
          <a:blip r:embed="rId4"/>
          <a:stretch>
            <a:fillRect/>
          </a:stretch>
        </p:blipFill>
        <p:spPr>
          <a:xfrm>
            <a:off x="22649198" y="267855"/>
            <a:ext cx="1460258" cy="1096702"/>
          </a:xfrm>
          <a:prstGeom prst="rect">
            <a:avLst/>
          </a:prstGeom>
        </p:spPr>
      </p:pic>
      <p:sp>
        <p:nvSpPr>
          <p:cNvPr id="9" name="Star">
            <a:extLst>
              <a:ext uri="{FF2B5EF4-FFF2-40B4-BE49-F238E27FC236}">
                <a16:creationId xmlns:a16="http://schemas.microsoft.com/office/drawing/2014/main" id="{E23D09CE-BA15-2BAC-8A0F-46EDBF6BFD6B}"/>
              </a:ext>
            </a:extLst>
          </p:cNvPr>
          <p:cNvSpPr/>
          <p:nvPr/>
        </p:nvSpPr>
        <p:spPr>
          <a:xfrm>
            <a:off x="635000" y="2337671"/>
            <a:ext cx="3778934" cy="1929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1">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Add</a:t>
            </a: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1226327519"/>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50" name="Group 1"/>
          <p:cNvGrpSpPr/>
          <p:nvPr/>
        </p:nvGrpSpPr>
        <p:grpSpPr>
          <a:xfrm>
            <a:off x="-292614" y="-292947"/>
            <a:ext cx="24971255" cy="14305281"/>
            <a:chOff x="0" y="0"/>
            <a:chExt cx="24971254" cy="14305280"/>
          </a:xfrm>
        </p:grpSpPr>
        <p:grpSp>
          <p:nvGrpSpPr>
            <p:cNvPr id="1017" name="Group 59"/>
            <p:cNvGrpSpPr/>
            <p:nvPr/>
          </p:nvGrpSpPr>
          <p:grpSpPr>
            <a:xfrm>
              <a:off x="903906" y="-1"/>
              <a:ext cx="23164620" cy="243842"/>
              <a:chOff x="0" y="0"/>
              <a:chExt cx="23164618" cy="243840"/>
            </a:xfrm>
          </p:grpSpPr>
          <p:sp>
            <p:nvSpPr>
              <p:cNvPr id="1006"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7"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8"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9"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0"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1"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2"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3"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4"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5"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6"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29" name="Group 60"/>
            <p:cNvGrpSpPr/>
            <p:nvPr/>
          </p:nvGrpSpPr>
          <p:grpSpPr>
            <a:xfrm>
              <a:off x="903906" y="14061440"/>
              <a:ext cx="23164620" cy="243841"/>
              <a:chOff x="0" y="0"/>
              <a:chExt cx="23164618" cy="243840"/>
            </a:xfrm>
          </p:grpSpPr>
          <p:sp>
            <p:nvSpPr>
              <p:cNvPr id="1018"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9"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0"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1"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2"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3"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4"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5"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6"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7"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8"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39" name="Group 61"/>
            <p:cNvGrpSpPr/>
            <p:nvPr/>
          </p:nvGrpSpPr>
          <p:grpSpPr>
            <a:xfrm>
              <a:off x="-1" y="926930"/>
              <a:ext cx="243842" cy="12438551"/>
              <a:chOff x="0" y="0"/>
              <a:chExt cx="243840" cy="12438549"/>
            </a:xfrm>
          </p:grpSpPr>
          <p:sp>
            <p:nvSpPr>
              <p:cNvPr id="1030"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1"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2"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3"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4"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5"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6"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7"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8"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49" name="Group 62"/>
            <p:cNvGrpSpPr/>
            <p:nvPr/>
          </p:nvGrpSpPr>
          <p:grpSpPr>
            <a:xfrm>
              <a:off x="24727414" y="926930"/>
              <a:ext cx="243841" cy="12435842"/>
              <a:chOff x="0" y="0"/>
              <a:chExt cx="243840" cy="12435840"/>
            </a:xfrm>
          </p:grpSpPr>
          <p:sp>
            <p:nvSpPr>
              <p:cNvPr id="1040"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1"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2"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3"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4"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5"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6"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7"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8"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grpSp>
        <p:nvGrpSpPr>
          <p:cNvPr id="1091" name="Group"/>
          <p:cNvGrpSpPr/>
          <p:nvPr/>
        </p:nvGrpSpPr>
        <p:grpSpPr>
          <a:xfrm>
            <a:off x="-292614" y="-292947"/>
            <a:ext cx="24971255" cy="14305281"/>
            <a:chOff x="0" y="0"/>
            <a:chExt cx="24971254" cy="14305280"/>
          </a:xfrm>
        </p:grpSpPr>
        <p:sp>
          <p:nvSpPr>
            <p:cNvPr id="1051"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2"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3"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4"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5"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6"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7"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8"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9"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0"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1"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2"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3"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4"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5"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6"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7"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8"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9"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0"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1"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2"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3"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4"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5"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6"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7"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8"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9"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0"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1"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2"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3"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4"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5"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6"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7"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8"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9"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90"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grpSp>
        <p:nvGrpSpPr>
          <p:cNvPr id="3" name="Group 2">
            <a:extLst>
              <a:ext uri="{FF2B5EF4-FFF2-40B4-BE49-F238E27FC236}">
                <a16:creationId xmlns:a16="http://schemas.microsoft.com/office/drawing/2014/main" id="{B462D878-DCBC-A94E-8D57-DE045951DBAA}"/>
              </a:ext>
            </a:extLst>
          </p:cNvPr>
          <p:cNvGrpSpPr/>
          <p:nvPr/>
        </p:nvGrpSpPr>
        <p:grpSpPr>
          <a:xfrm>
            <a:off x="12398866" y="4344071"/>
            <a:ext cx="11644840" cy="2950162"/>
            <a:chOff x="-97040" y="6197675"/>
            <a:chExt cx="11644840" cy="2950162"/>
          </a:xfrm>
        </p:grpSpPr>
        <p:pic>
          <p:nvPicPr>
            <p:cNvPr id="1092" name="Image" descr="Image"/>
            <p:cNvPicPr>
              <a:picLocks noChangeAspect="1"/>
            </p:cNvPicPr>
            <p:nvPr/>
          </p:nvPicPr>
          <p:blipFill>
            <a:blip r:embed="rId2"/>
            <a:stretch>
              <a:fillRect/>
            </a:stretch>
          </p:blipFill>
          <p:spPr>
            <a:xfrm>
              <a:off x="-97040" y="6197675"/>
              <a:ext cx="2008831" cy="1540017"/>
            </a:xfrm>
            <a:prstGeom prst="rect">
              <a:avLst/>
            </a:prstGeom>
            <a:solidFill>
              <a:schemeClr val="bg2">
                <a:lumMod val="10000"/>
              </a:schemeClr>
            </a:solidFill>
            <a:ln w="12700">
              <a:miter lim="400000"/>
            </a:ln>
          </p:spPr>
        </p:pic>
        <p:sp>
          <p:nvSpPr>
            <p:cNvPr id="1093" name="Welcome to"/>
            <p:cNvSpPr txBox="1"/>
            <p:nvPr/>
          </p:nvSpPr>
          <p:spPr>
            <a:xfrm>
              <a:off x="2305298" y="6289655"/>
              <a:ext cx="8974709" cy="19240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11200">
                  <a:solidFill>
                    <a:srgbClr val="FFFFFF"/>
                  </a:solidFill>
                  <a:latin typeface="IBM Plex Sans"/>
                  <a:ea typeface="IBM Plex Sans"/>
                  <a:cs typeface="IBM Plex Sans"/>
                  <a:sym typeface="IBM Plex Sans"/>
                </a:defRPr>
              </a:lvl1pPr>
            </a:lstStyle>
            <a:p>
              <a:r>
                <a:rPr dirty="0">
                  <a:solidFill>
                    <a:schemeClr val="bg2">
                      <a:lumMod val="10000"/>
                    </a:schemeClr>
                  </a:solidFill>
                </a:rPr>
                <a:t>Welcome to</a:t>
              </a:r>
            </a:p>
          </p:txBody>
        </p:sp>
        <p:sp>
          <p:nvSpPr>
            <p:cNvPr id="1094" name="IBM Customer Success"/>
            <p:cNvSpPr txBox="1"/>
            <p:nvPr/>
          </p:nvSpPr>
          <p:spPr>
            <a:xfrm>
              <a:off x="3176085" y="8121915"/>
              <a:ext cx="8371715" cy="10259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6000">
                  <a:solidFill>
                    <a:srgbClr val="FFFFFF"/>
                  </a:solidFill>
                  <a:latin typeface="IBM Plex Sans"/>
                  <a:ea typeface="IBM Plex Sans"/>
                  <a:cs typeface="IBM Plex Sans"/>
                  <a:sym typeface="IBM Plex Sans"/>
                </a:defRPr>
              </a:pPr>
              <a:r>
                <a:rPr dirty="0">
                  <a:solidFill>
                    <a:schemeClr val="bg2">
                      <a:lumMod val="10000"/>
                    </a:schemeClr>
                  </a:solidFill>
                  <a:latin typeface="IBM Plex Sans Light"/>
                  <a:ea typeface="IBM Plex Sans Light"/>
                  <a:cs typeface="IBM Plex Sans Light"/>
                  <a:sym typeface="IBM Plex Sans Light"/>
                </a:rPr>
                <a:t>IBM</a:t>
              </a:r>
              <a:r>
                <a:rPr dirty="0">
                  <a:solidFill>
                    <a:schemeClr val="bg2">
                      <a:lumMod val="10000"/>
                    </a:schemeClr>
                  </a:solidFill>
                </a:rPr>
                <a:t> </a:t>
              </a:r>
              <a:r>
                <a:rPr spc="59" dirty="0">
                  <a:solidFill>
                    <a:schemeClr val="bg2">
                      <a:lumMod val="10000"/>
                    </a:schemeClr>
                  </a:solidFill>
                  <a:latin typeface="IBM Plex Sans SemiBold"/>
                  <a:ea typeface="IBM Plex Sans SemiBold"/>
                  <a:cs typeface="IBM Plex Sans SemiBold"/>
                  <a:sym typeface="IBM Plex Sans SemiBold"/>
                </a:rPr>
                <a:t>Customer Success</a:t>
              </a:r>
            </a:p>
          </p:txBody>
        </p:sp>
      </p:grpSp>
      <p:sp>
        <p:nvSpPr>
          <p:cNvPr id="2" name="Rectangle 1">
            <a:extLst>
              <a:ext uri="{FF2B5EF4-FFF2-40B4-BE49-F238E27FC236}">
                <a16:creationId xmlns:a16="http://schemas.microsoft.com/office/drawing/2014/main" id="{098B6D27-8533-1B4B-B766-AD346256459D}"/>
              </a:ext>
            </a:extLst>
          </p:cNvPr>
          <p:cNvSpPr/>
          <p:nvPr/>
        </p:nvSpPr>
        <p:spPr>
          <a:xfrm>
            <a:off x="7665849" y="18146822"/>
            <a:ext cx="12192000" cy="830997"/>
          </a:xfrm>
          <a:prstGeom prst="rect">
            <a:avLst/>
          </a:prstGeom>
        </p:spPr>
        <p:txBody>
          <a:bodyPr>
            <a:spAutoFit/>
          </a:bodyPr>
          <a:lstStyle/>
          <a:p>
            <a:br>
              <a:rPr lang="en-AU" dirty="0"/>
            </a:br>
            <a:endParaRPr lang="en-US" dirty="0"/>
          </a:p>
        </p:txBody>
      </p:sp>
      <p:pic>
        <p:nvPicPr>
          <p:cNvPr id="95" name="Picture 94" descr="A group of people sitting at a table&#10;&#10;Description automatically generated">
            <a:extLst>
              <a:ext uri="{FF2B5EF4-FFF2-40B4-BE49-F238E27FC236}">
                <a16:creationId xmlns:a16="http://schemas.microsoft.com/office/drawing/2014/main" id="{A6506A4D-91F3-A948-886E-5981C9ADBA7B}"/>
              </a:ext>
            </a:extLst>
          </p:cNvPr>
          <p:cNvPicPr>
            <a:picLocks noChangeAspect="1"/>
          </p:cNvPicPr>
          <p:nvPr/>
        </p:nvPicPr>
        <p:blipFill rotWithShape="1">
          <a:blip r:embed="rId3"/>
          <a:srcRect l="45924"/>
          <a:stretch/>
        </p:blipFill>
        <p:spPr>
          <a:xfrm>
            <a:off x="904362" y="633981"/>
            <a:ext cx="11287631" cy="12435841"/>
          </a:xfrm>
          <a:prstGeom prst="rect">
            <a:avLst/>
          </a:prstGeom>
        </p:spPr>
      </p:pic>
      <p:pic>
        <p:nvPicPr>
          <p:cNvPr id="7" name="Picture 6">
            <a:extLst>
              <a:ext uri="{FF2B5EF4-FFF2-40B4-BE49-F238E27FC236}">
                <a16:creationId xmlns:a16="http://schemas.microsoft.com/office/drawing/2014/main" id="{1EF73793-FFBF-989C-14DC-A9EA286E46EF}"/>
              </a:ext>
            </a:extLst>
          </p:cNvPr>
          <p:cNvPicPr>
            <a:picLocks noChangeAspect="1"/>
          </p:cNvPicPr>
          <p:nvPr/>
        </p:nvPicPr>
        <p:blipFill>
          <a:blip r:embed="rId4"/>
          <a:stretch>
            <a:fillRect/>
          </a:stretch>
        </p:blipFill>
        <p:spPr>
          <a:xfrm>
            <a:off x="22080241" y="12403845"/>
            <a:ext cx="2032000" cy="965200"/>
          </a:xfrm>
          <a:prstGeom prst="rect">
            <a:avLst/>
          </a:prstGeom>
        </p:spPr>
      </p:pic>
      <p:sp>
        <p:nvSpPr>
          <p:cNvPr id="9" name="TextBox 8">
            <a:extLst>
              <a:ext uri="{FF2B5EF4-FFF2-40B4-BE49-F238E27FC236}">
                <a16:creationId xmlns:a16="http://schemas.microsoft.com/office/drawing/2014/main" id="{1D8FF6D1-99BB-7DD7-502B-079087B00300}"/>
              </a:ext>
            </a:extLst>
          </p:cNvPr>
          <p:cNvSpPr txBox="1"/>
          <p:nvPr/>
        </p:nvSpPr>
        <p:spPr>
          <a:xfrm>
            <a:off x="12398866" y="12210938"/>
            <a:ext cx="8719189" cy="8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sz="2400" b="0" i="0" u="none" strike="noStrike" cap="none" spc="0" normalizeH="0" baseline="0" dirty="0">
                <a:ln>
                  <a:noFill/>
                </a:ln>
                <a:solidFill>
                  <a:srgbClr val="5E5E5E"/>
                </a:solidFill>
                <a:effectLst/>
                <a:uFillTx/>
                <a:latin typeface="+mn-lt"/>
                <a:ea typeface="+mn-ea"/>
                <a:cs typeface="+mn-cs"/>
                <a:sym typeface="Helvetica Neue"/>
              </a:rPr>
              <a:t>Date: dd/mm</a:t>
            </a:r>
            <a:r>
              <a:rPr lang="en-US" dirty="0"/>
              <a:t>/</a:t>
            </a:r>
            <a:r>
              <a:rPr lang="en-US" dirty="0" err="1"/>
              <a:t>yy</a:t>
            </a:r>
            <a:endParaRPr lang="en-US" dirty="0"/>
          </a:p>
          <a:p>
            <a:pPr marL="0" marR="0" indent="0" algn="l" defTabSz="2438338" rtl="0" fontAlgn="auto" latinLnBrk="0" hangingPunct="0">
              <a:lnSpc>
                <a:spcPct val="100000"/>
              </a:lnSpc>
              <a:spcBef>
                <a:spcPts val="0"/>
              </a:spcBef>
              <a:spcAft>
                <a:spcPts val="0"/>
              </a:spcAft>
              <a:buClrTx/>
              <a:buSzTx/>
              <a:buFontTx/>
              <a:buNone/>
              <a:tabLst/>
            </a:pPr>
            <a:r>
              <a:rPr lang="en-US" dirty="0"/>
              <a:t>Location: XYZ, Country</a:t>
            </a:r>
          </a:p>
        </p:txBody>
      </p:sp>
      <p:sp>
        <p:nvSpPr>
          <p:cNvPr id="97" name="IBM Customer Success">
            <a:extLst>
              <a:ext uri="{FF2B5EF4-FFF2-40B4-BE49-F238E27FC236}">
                <a16:creationId xmlns:a16="http://schemas.microsoft.com/office/drawing/2014/main" id="{44D27DC5-90AF-2CD2-9407-6EE41A3F39EB}"/>
              </a:ext>
            </a:extLst>
          </p:cNvPr>
          <p:cNvSpPr txBox="1"/>
          <p:nvPr/>
        </p:nvSpPr>
        <p:spPr>
          <a:xfrm>
            <a:off x="15669650" y="7715000"/>
            <a:ext cx="10123071" cy="7284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p>
            <a:pPr algn="l" defTabSz="1219169" hangingPunct="0">
              <a:defRPr sz="6000">
                <a:solidFill>
                  <a:srgbClr val="FFFFFF"/>
                </a:solidFill>
                <a:latin typeface="IBM Plex Sans"/>
                <a:ea typeface="IBM Plex Sans"/>
                <a:cs typeface="IBM Plex Sans"/>
                <a:sym typeface="IBM Plex Sans"/>
              </a:defRPr>
            </a:pPr>
            <a:r>
              <a:rPr lang="en-AU" sz="4400" b="1" kern="0" dirty="0">
                <a:solidFill>
                  <a:srgbClr val="FFC000"/>
                </a:solidFill>
                <a:latin typeface="IBM Plex Sans Light"/>
                <a:ea typeface="IBM Plex Sans Light"/>
                <a:cs typeface="IBM Plex Sans Light"/>
                <a:sym typeface="IBM Plex Sans Light"/>
              </a:rPr>
              <a:t>High Level Engagement Plan</a:t>
            </a:r>
            <a:endParaRPr sz="4400" b="1" kern="0" spc="30" dirty="0">
              <a:solidFill>
                <a:srgbClr val="FFC000"/>
              </a:solidFill>
              <a:latin typeface="IBM Plex Sans SemiBold"/>
              <a:ea typeface="IBM Plex Sans SemiBold"/>
              <a:cs typeface="IBM Plex Sans SemiBold"/>
              <a:sym typeface="IBM Plex Sans SemiBold"/>
            </a:endParaRPr>
          </a:p>
        </p:txBody>
      </p:sp>
      <p:sp>
        <p:nvSpPr>
          <p:cNvPr id="98" name="Process 97">
            <a:extLst>
              <a:ext uri="{FF2B5EF4-FFF2-40B4-BE49-F238E27FC236}">
                <a16:creationId xmlns:a16="http://schemas.microsoft.com/office/drawing/2014/main" id="{5020ACD5-252D-08F4-5117-8301FDB488D8}"/>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
        <p:nvSpPr>
          <p:cNvPr id="4" name="TextBox 3">
            <a:extLst>
              <a:ext uri="{FF2B5EF4-FFF2-40B4-BE49-F238E27FC236}">
                <a16:creationId xmlns:a16="http://schemas.microsoft.com/office/drawing/2014/main" id="{E50EF8CC-08E4-F3DF-127B-723F03ED897A}"/>
              </a:ext>
            </a:extLst>
          </p:cNvPr>
          <p:cNvSpPr txBox="1"/>
          <p:nvPr/>
        </p:nvSpPr>
        <p:spPr>
          <a:xfrm>
            <a:off x="20040072" y="-972562"/>
            <a:ext cx="10265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2438338" rtl="0" fontAlgn="auto" latinLnBrk="0" hangingPunct="0">
              <a:lnSpc>
                <a:spcPct val="100000"/>
              </a:lnSpc>
              <a:spcBef>
                <a:spcPts val="0"/>
              </a:spcBef>
              <a:spcAft>
                <a:spcPts val="0"/>
              </a:spcAft>
              <a:buClrTx/>
              <a:buSzTx/>
              <a:buFontTx/>
              <a:buNone/>
              <a:tabLst/>
            </a:pPr>
            <a:endParaRPr kumimoji="0" lang="en-US" sz="2400" b="0" i="0" u="none" strike="noStrike" cap="none" spc="0" normalizeH="0" baseline="0" dirty="0">
              <a:ln>
                <a:noFill/>
              </a:ln>
              <a:solidFill>
                <a:srgbClr val="5E5E5E"/>
              </a:solidFill>
              <a:effectLst/>
              <a:uFillTx/>
              <a:latin typeface="+mn-lt"/>
              <a:ea typeface="+mn-ea"/>
              <a:cs typeface="+mn-cs"/>
              <a:sym typeface="Helvetica Neue"/>
            </a:endParaRPr>
          </a:p>
        </p:txBody>
      </p:sp>
    </p:spTree>
    <p:extLst>
      <p:ext uri="{BB962C8B-B14F-4D97-AF65-F5344CB8AC3E}">
        <p14:creationId xmlns:p14="http://schemas.microsoft.com/office/powerpoint/2010/main" val="3012308892"/>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1" name="Slide Number"/>
          <p:cNvSpPr txBox="1">
            <a:spLocks noGrp="1"/>
          </p:cNvSpPr>
          <p:nvPr>
            <p:ph type="sldNum" sz="quarter" idx="2"/>
          </p:nvPr>
        </p:nvSpPr>
        <p:spPr>
          <a:xfrm>
            <a:off x="22980563" y="12463488"/>
            <a:ext cx="457392" cy="64291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hangingPunct="0">
              <a:defRPr/>
            </a:pPr>
            <a:fld id="{86CB4B4D-7CA3-9044-876B-883B54F8677D}" type="slidenum">
              <a:rPr kern="0"/>
              <a:pPr hangingPunct="0">
                <a:defRPr/>
              </a:pPr>
              <a:t>4</a:t>
            </a:fld>
            <a:endParaRPr kern="0"/>
          </a:p>
        </p:txBody>
      </p:sp>
      <p:sp>
        <p:nvSpPr>
          <p:cNvPr id="1313" name="Your current IBM entitlements"/>
          <p:cNvSpPr txBox="1"/>
          <p:nvPr/>
        </p:nvSpPr>
        <p:spPr>
          <a:xfrm>
            <a:off x="635001" y="406400"/>
            <a:ext cx="23084536"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defTabSz="2438430">
              <a:defRPr/>
            </a:pPr>
            <a:r>
              <a:rPr lang="en-AU" sz="5333" dirty="0"/>
              <a:t>Customer Success Engagement | Meeting Agenda (45min)</a:t>
            </a:r>
          </a:p>
        </p:txBody>
      </p:sp>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19211457" y="164108"/>
            <a:ext cx="1460259" cy="1096701"/>
          </a:xfrm>
          <a:prstGeom prst="rect">
            <a:avLst/>
          </a:prstGeom>
        </p:spPr>
      </p:pic>
      <p:graphicFrame>
        <p:nvGraphicFramePr>
          <p:cNvPr id="17" name="Table 16">
            <a:extLst>
              <a:ext uri="{FF2B5EF4-FFF2-40B4-BE49-F238E27FC236}">
                <a16:creationId xmlns:a16="http://schemas.microsoft.com/office/drawing/2014/main" id="{82DADF78-5616-9EC7-CEF0-79FC6DF36FFB}"/>
              </a:ext>
            </a:extLst>
          </p:cNvPr>
          <p:cNvGraphicFramePr>
            <a:graphicFrameLocks noGrp="1"/>
          </p:cNvGraphicFramePr>
          <p:nvPr/>
        </p:nvGraphicFramePr>
        <p:xfrm>
          <a:off x="910916" y="1722156"/>
          <a:ext cx="22298344" cy="11872936"/>
        </p:xfrm>
        <a:graphic>
          <a:graphicData uri="http://schemas.openxmlformats.org/drawingml/2006/table">
            <a:tbl>
              <a:tblPr firstRow="1" bandRow="1">
                <a:tableStyleId>{6E25E649-3F16-4E02-A733-19D2CDBF48F0}</a:tableStyleId>
              </a:tblPr>
              <a:tblGrid>
                <a:gridCol w="10033059">
                  <a:extLst>
                    <a:ext uri="{9D8B030D-6E8A-4147-A177-3AD203B41FA5}">
                      <a16:colId xmlns:a16="http://schemas.microsoft.com/office/drawing/2014/main" val="800374850"/>
                    </a:ext>
                  </a:extLst>
                </a:gridCol>
                <a:gridCol w="4574973">
                  <a:extLst>
                    <a:ext uri="{9D8B030D-6E8A-4147-A177-3AD203B41FA5}">
                      <a16:colId xmlns:a16="http://schemas.microsoft.com/office/drawing/2014/main" val="577158212"/>
                    </a:ext>
                  </a:extLst>
                </a:gridCol>
                <a:gridCol w="3725139">
                  <a:extLst>
                    <a:ext uri="{9D8B030D-6E8A-4147-A177-3AD203B41FA5}">
                      <a16:colId xmlns:a16="http://schemas.microsoft.com/office/drawing/2014/main" val="243736413"/>
                    </a:ext>
                  </a:extLst>
                </a:gridCol>
                <a:gridCol w="3965173">
                  <a:extLst>
                    <a:ext uri="{9D8B030D-6E8A-4147-A177-3AD203B41FA5}">
                      <a16:colId xmlns:a16="http://schemas.microsoft.com/office/drawing/2014/main" val="403179850"/>
                    </a:ext>
                  </a:extLst>
                </a:gridCol>
              </a:tblGrid>
              <a:tr h="924600">
                <a:tc>
                  <a:txBody>
                    <a:bodyPr/>
                    <a:lstStyle/>
                    <a:p>
                      <a:pPr algn="l"/>
                      <a:r>
                        <a:rPr lang="en-US" sz="4300" dirty="0">
                          <a:solidFill>
                            <a:schemeClr val="bg1"/>
                          </a:solidFill>
                          <a:latin typeface="IBM Plex Sans" panose="020B0503050203000203" pitchFamily="34" charset="0"/>
                        </a:rPr>
                        <a:t>Topics</a:t>
                      </a:r>
                      <a:endParaRPr lang="en-IL" sz="4300" dirty="0">
                        <a:solidFill>
                          <a:schemeClr val="bg1"/>
                        </a:solidFill>
                        <a:latin typeface="IBM Plex Sans" panose="020B0503050203000203" pitchFamily="34" charset="0"/>
                      </a:endParaRPr>
                    </a:p>
                  </a:txBody>
                  <a:tcPr marL="182880" marR="182880" marT="91440" marB="91440">
                    <a:lnL>
                      <a:noFill/>
                    </a:lnL>
                    <a:lnR>
                      <a:noFill/>
                    </a:lnR>
                    <a:lnT w="25400" cmpd="sng">
                      <a:noFill/>
                    </a:lnT>
                    <a:lnB w="25400" cmpd="sng">
                      <a:noFill/>
                    </a:lnB>
                    <a:lnTlToBr w="12700" cmpd="sng">
                      <a:noFill/>
                      <a:prstDash val="solid"/>
                    </a:lnTlToBr>
                    <a:lnBlToTr w="12700" cmpd="sng">
                      <a:noFill/>
                      <a:prstDash val="solid"/>
                    </a:lnBlToTr>
                    <a:solidFill>
                      <a:srgbClr val="002060"/>
                    </a:solidFill>
                  </a:tcPr>
                </a:tc>
                <a:tc>
                  <a:txBody>
                    <a:bodyPr/>
                    <a:lstStyle/>
                    <a:p>
                      <a:pPr algn="l"/>
                      <a:r>
                        <a:rPr lang="en-US" sz="4300" dirty="0">
                          <a:solidFill>
                            <a:schemeClr val="bg1"/>
                          </a:solidFill>
                          <a:latin typeface="IBM Plex Sans" panose="020B0503050203000203" pitchFamily="34" charset="0"/>
                        </a:rPr>
                        <a:t>Comments </a:t>
                      </a:r>
                      <a:endParaRPr lang="en-IL" sz="4300" dirty="0">
                        <a:solidFill>
                          <a:schemeClr val="bg1"/>
                        </a:solidFill>
                        <a:latin typeface="IBM Plex Sans" panose="020B0503050203000203" pitchFamily="34" charset="0"/>
                      </a:endParaRPr>
                    </a:p>
                  </a:txBody>
                  <a:tcPr marL="182880" marR="182880" marT="91440" marB="91440">
                    <a:lnL>
                      <a:noFill/>
                    </a:lnL>
                    <a:lnR>
                      <a:noFill/>
                    </a:lnR>
                    <a:lnT w="25400" cmpd="sng">
                      <a:noFill/>
                    </a:lnT>
                    <a:lnB w="25400" cmpd="sng">
                      <a:noFill/>
                    </a:lnB>
                    <a:lnTlToBr w="12700" cmpd="sng">
                      <a:noFill/>
                      <a:prstDash val="solid"/>
                    </a:lnTlToBr>
                    <a:lnBlToTr w="12700" cmpd="sng">
                      <a:noFill/>
                      <a:prstDash val="solid"/>
                    </a:lnBlToTr>
                    <a:solidFill>
                      <a:srgbClr val="002060"/>
                    </a:solidFill>
                  </a:tcPr>
                </a:tc>
                <a:tc>
                  <a:txBody>
                    <a:bodyPr/>
                    <a:lstStyle/>
                    <a:p>
                      <a:pPr algn="l"/>
                      <a:r>
                        <a:rPr lang="en-US" sz="4300" dirty="0">
                          <a:solidFill>
                            <a:schemeClr val="bg1"/>
                          </a:solidFill>
                          <a:latin typeface="IBM Plex Sans" panose="020B0503050203000203" pitchFamily="34" charset="0"/>
                        </a:rPr>
                        <a:t>Participants</a:t>
                      </a:r>
                      <a:endParaRPr lang="en-IL" sz="4300" dirty="0">
                        <a:solidFill>
                          <a:schemeClr val="bg1"/>
                        </a:solidFill>
                        <a:latin typeface="IBM Plex Sans" panose="020B0503050203000203" pitchFamily="34" charset="0"/>
                      </a:endParaRPr>
                    </a:p>
                  </a:txBody>
                  <a:tcPr marL="182880" marR="182880" marT="91440" marB="91440">
                    <a:lnL>
                      <a:noFill/>
                    </a:lnL>
                    <a:lnR>
                      <a:noFill/>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l"/>
                      <a:r>
                        <a:rPr lang="en-US" sz="4300" dirty="0">
                          <a:solidFill>
                            <a:schemeClr val="bg1"/>
                          </a:solidFill>
                          <a:latin typeface="IBM Plex Sans" panose="020B0503050203000203" pitchFamily="34" charset="0"/>
                        </a:rPr>
                        <a:t>Duration</a:t>
                      </a:r>
                      <a:endParaRPr lang="en-IL" sz="4300" dirty="0">
                        <a:solidFill>
                          <a:schemeClr val="bg1"/>
                        </a:solidFill>
                        <a:latin typeface="IBM Plex Sans" panose="020B0503050203000203" pitchFamily="34" charset="0"/>
                      </a:endParaRPr>
                    </a:p>
                  </a:txBody>
                  <a:tcPr marL="182880" marR="182880" marT="91440" marB="91440">
                    <a:lnL>
                      <a:noFill/>
                    </a:lnL>
                    <a:lnR>
                      <a:noFill/>
                    </a:lnR>
                    <a:lnT w="25400" cmpd="sng">
                      <a:noFill/>
                    </a:lnT>
                    <a:lnB w="25400" cmpd="sng">
                      <a:no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3590700153"/>
                  </a:ext>
                </a:extLst>
              </a:tr>
              <a:tr h="920376">
                <a:tc>
                  <a:txBody>
                    <a:bodyPr/>
                    <a:lstStyle/>
                    <a:p>
                      <a:pPr marL="0" indent="0" algn="l">
                        <a:buFontTx/>
                        <a:buNone/>
                      </a:pPr>
                      <a:r>
                        <a:rPr lang="en-AU" sz="4300" dirty="0">
                          <a:solidFill>
                            <a:schemeClr val="tx1"/>
                          </a:solidFill>
                          <a:latin typeface="IBM Plex Sans" panose="020B0503050203000203" pitchFamily="34" charset="0"/>
                        </a:rPr>
                        <a:t>Introduction</a:t>
                      </a:r>
                      <a:endParaRPr lang="en-IL" sz="4300" dirty="0">
                        <a:solidFill>
                          <a:schemeClr val="tx1"/>
                        </a:solidFill>
                        <a:latin typeface="IBM Plex Sans" panose="020B0503050203000203" pitchFamily="34" charset="0"/>
                      </a:endParaRPr>
                    </a:p>
                  </a:txBody>
                  <a:tcPr marL="182880" marR="182880" marT="91440" marB="91440">
                    <a:lnL>
                      <a:noFill/>
                    </a:lnL>
                    <a:lnR w="12700" cap="flat" cmpd="sng" algn="ctr">
                      <a:solidFill>
                        <a:schemeClr val="tx1"/>
                      </a:solidFill>
                      <a:prstDash val="solid"/>
                      <a:round/>
                      <a:headEnd type="none" w="med" len="med"/>
                      <a:tailEnd type="none" w="med" len="med"/>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4300" i="1" dirty="0">
                          <a:solidFill>
                            <a:schemeClr val="tx1"/>
                          </a:solidFill>
                          <a:latin typeface="IBM Plex Sans" panose="020B0503050203000203" pitchFamily="34" charset="0"/>
                        </a:rPr>
                        <a:t>Getting together </a:t>
                      </a:r>
                      <a:endParaRPr lang="en-IL" sz="4300" i="1" dirty="0">
                        <a:solidFill>
                          <a:schemeClr val="tx1"/>
                        </a:solidFill>
                        <a:latin typeface="IBM Plex Sans" panose="020B0503050203000203" pitchFamily="34" charset="0"/>
                      </a:endParaRPr>
                    </a:p>
                  </a:txBody>
                  <a:tcPr marL="182880" marR="18288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algn="l"/>
                      <a:endParaRPr lang="en-IL" sz="4300" dirty="0">
                        <a:solidFill>
                          <a:schemeClr val="tx1"/>
                        </a:solidFill>
                        <a:latin typeface="IBM Plex Sans" panose="020B0503050203000203" pitchFamily="34" charset="0"/>
                      </a:endParaRPr>
                    </a:p>
                  </a:txBody>
                  <a:tcPr marL="182880" marR="18288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4300" dirty="0">
                          <a:solidFill>
                            <a:schemeClr val="tx1"/>
                          </a:solidFill>
                          <a:latin typeface="IBM Plex Sans" panose="020B0503050203000203" pitchFamily="34" charset="0"/>
                        </a:rPr>
                        <a:t>5 Mins</a:t>
                      </a:r>
                      <a:endParaRPr lang="en-IL" sz="4300" dirty="0">
                        <a:solidFill>
                          <a:schemeClr val="tx1"/>
                        </a:solidFill>
                        <a:latin typeface="IBM Plex Sans" panose="020B0503050203000203" pitchFamily="34" charset="0"/>
                      </a:endParaRPr>
                    </a:p>
                  </a:txBody>
                  <a:tcPr marL="182880" marR="182880" marT="91440" marB="91440">
                    <a:lnL w="12700" cap="flat" cmpd="sng" algn="ctr">
                      <a:solidFill>
                        <a:schemeClr val="tx1"/>
                      </a:solidFill>
                      <a:prstDash val="solid"/>
                      <a:round/>
                      <a:headEnd type="none" w="med" len="med"/>
                      <a:tailEnd type="none" w="med" len="med"/>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84789546"/>
                  </a:ext>
                </a:extLst>
              </a:tr>
              <a:tr h="2783840">
                <a:tc>
                  <a:txBody>
                    <a:bodyPr/>
                    <a:lstStyle/>
                    <a:p>
                      <a:pPr marL="285750" indent="-285750" algn="l">
                        <a:buFont typeface="Arial" panose="020B0604020202020204" pitchFamily="34" charset="0"/>
                        <a:buChar char="•"/>
                      </a:pPr>
                      <a:r>
                        <a:rPr lang="en-AU" sz="4300" kern="1200" dirty="0">
                          <a:solidFill>
                            <a:schemeClr val="tx1"/>
                          </a:solidFill>
                          <a:latin typeface="IBM Plex Sans" panose="020B0503050203000203" pitchFamily="34" charset="0"/>
                        </a:rPr>
                        <a:t>Update</a:t>
                      </a:r>
                      <a:r>
                        <a:rPr lang="en-AU" sz="4300" kern="1200" baseline="0" dirty="0">
                          <a:solidFill>
                            <a:schemeClr val="tx1"/>
                          </a:solidFill>
                          <a:latin typeface="IBM Plex Sans" panose="020B0503050203000203" pitchFamily="34" charset="0"/>
                        </a:rPr>
                        <a:t>s on business strategy &amp; objectives  </a:t>
                      </a:r>
                    </a:p>
                    <a:p>
                      <a:pPr marL="285750" indent="-285750" algn="l">
                        <a:buFont typeface="Arial" panose="020B0604020202020204" pitchFamily="34" charset="0"/>
                        <a:buChar char="•"/>
                      </a:pPr>
                      <a:r>
                        <a:rPr lang="en-AU" sz="4300" kern="1200" dirty="0">
                          <a:solidFill>
                            <a:schemeClr val="tx1"/>
                          </a:solidFill>
                          <a:latin typeface="IBM Plex Sans" panose="020B0503050203000203" pitchFamily="34" charset="0"/>
                          <a:sym typeface="Wingdings" pitchFamily="2" charset="2"/>
                        </a:rPr>
                        <a:t>Current situation </a:t>
                      </a:r>
                    </a:p>
                    <a:p>
                      <a:pPr marL="285750" indent="-285750" algn="l">
                        <a:buFont typeface="Arial" panose="020B0604020202020204" pitchFamily="34" charset="0"/>
                        <a:buChar char="•"/>
                      </a:pPr>
                      <a:r>
                        <a:rPr lang="en-AU" sz="4300" kern="1200" dirty="0">
                          <a:solidFill>
                            <a:schemeClr val="tx1"/>
                          </a:solidFill>
                          <a:latin typeface="IBM Plex Sans" panose="020B0503050203000203" pitchFamily="34" charset="0"/>
                          <a:sym typeface="Wingdings" pitchFamily="2" charset="2"/>
                        </a:rPr>
                        <a:t>Business challenges and needs </a:t>
                      </a:r>
                    </a:p>
                  </a:txBody>
                  <a:tcPr marL="182880" marR="182880" marT="91440" marB="9144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r>
                        <a:rPr lang="en-AU" sz="4300" kern="1200" dirty="0">
                          <a:solidFill>
                            <a:schemeClr val="tx1"/>
                          </a:solidFill>
                          <a:latin typeface="IBM Plex Sans" panose="020B0503050203000203" pitchFamily="34" charset="0"/>
                        </a:rPr>
                        <a:t>Customer </a:t>
                      </a:r>
                      <a:endParaRPr lang="en-IL" sz="4300" kern="1200" dirty="0">
                        <a:solidFill>
                          <a:schemeClr val="tx1"/>
                        </a:solidFill>
                        <a:latin typeface="IBM Plex Sans" panose="020B0503050203000203" pitchFamily="34" charset="0"/>
                        <a:ea typeface="+mn-ea"/>
                        <a:cs typeface="+mn-cs"/>
                      </a:endParaRPr>
                    </a:p>
                  </a:txBody>
                  <a:tcPr marL="182880" marR="18288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endParaRPr lang="en-IL" sz="900" dirty="0">
                        <a:solidFill>
                          <a:schemeClr val="tx1"/>
                        </a:solidFill>
                        <a:latin typeface="IBM Plex Sans" panose="020B0503050203000203" pitchFamily="34" charset="0"/>
                      </a:endParaRPr>
                    </a:p>
                  </a:txBody>
                  <a:tcPr marL="68580" marR="68580" marT="34290" marB="34290"/>
                </a:tc>
                <a:tc>
                  <a:txBody>
                    <a:bodyPr/>
                    <a:lstStyle/>
                    <a:p>
                      <a:pPr algn="l"/>
                      <a:r>
                        <a:rPr lang="en-AU" sz="4300" kern="1200" dirty="0">
                          <a:solidFill>
                            <a:schemeClr val="tx1"/>
                          </a:solidFill>
                          <a:latin typeface="IBM Plex Sans" panose="020B0503050203000203" pitchFamily="34" charset="0"/>
                        </a:rPr>
                        <a:t>10 min </a:t>
                      </a:r>
                      <a:endParaRPr lang="en-IL" sz="4300" kern="1200" dirty="0">
                        <a:solidFill>
                          <a:schemeClr val="tx1"/>
                        </a:solidFill>
                        <a:latin typeface="IBM Plex Sans" panose="020B0503050203000203" pitchFamily="34" charset="0"/>
                        <a:ea typeface="+mn-ea"/>
                        <a:cs typeface="+mn-cs"/>
                      </a:endParaRPr>
                    </a:p>
                  </a:txBody>
                  <a:tcPr marL="182880" marR="182880" marT="91440" marB="9144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420521"/>
                  </a:ext>
                </a:extLst>
              </a:tr>
              <a:tr h="5384800">
                <a:tc>
                  <a:txBody>
                    <a:bodyPr/>
                    <a:lstStyle/>
                    <a:p>
                      <a:pPr marL="285750" indent="-285750" algn="l">
                        <a:buFont typeface="Arial" panose="020B0604020202020204" pitchFamily="34" charset="0"/>
                        <a:buChar char="•"/>
                      </a:pPr>
                      <a:r>
                        <a:rPr lang="en-US" sz="4300" kern="1200" dirty="0">
                          <a:solidFill>
                            <a:schemeClr val="tx1"/>
                          </a:solidFill>
                          <a:latin typeface="IBM Plex Sans" panose="020B0503050203000203" pitchFamily="34" charset="0"/>
                        </a:rPr>
                        <a:t>Quick recap &amp; validation : current initiatives and goals, entitlement overview and uses case deployment status </a:t>
                      </a:r>
                    </a:p>
                    <a:p>
                      <a:pPr marL="285750" indent="-285750" algn="l">
                        <a:buFont typeface="Arial" panose="020B0604020202020204" pitchFamily="34" charset="0"/>
                        <a:buChar char="•"/>
                      </a:pPr>
                      <a:r>
                        <a:rPr lang="en-US" sz="4300" kern="1200" dirty="0">
                          <a:solidFill>
                            <a:schemeClr val="tx1"/>
                          </a:solidFill>
                          <a:latin typeface="IBM Plex Sans" panose="020B0503050203000203" pitchFamily="34" charset="0"/>
                        </a:rPr>
                        <a:t>High Level Roadmap Proposal+ enablement plan</a:t>
                      </a:r>
                    </a:p>
                    <a:p>
                      <a:pPr marL="285750" indent="-285750" algn="l">
                        <a:buFont typeface="Arial" panose="020B0604020202020204" pitchFamily="34" charset="0"/>
                        <a:buChar char="•"/>
                      </a:pPr>
                      <a:r>
                        <a:rPr lang="en-US" sz="4300" kern="1200" dirty="0">
                          <a:solidFill>
                            <a:schemeClr val="tx1"/>
                          </a:solidFill>
                          <a:latin typeface="IBM Plex Sans" panose="020B0503050203000203" pitchFamily="34" charset="0"/>
                        </a:rPr>
                        <a:t>Customer Success Engagement Model</a:t>
                      </a:r>
                      <a:endParaRPr lang="en-US" sz="4300" kern="1200" dirty="0">
                        <a:solidFill>
                          <a:schemeClr val="bg1"/>
                        </a:solidFill>
                        <a:latin typeface="IBM Plex Sans" panose="020B0503050203000203" pitchFamily="34" charset="0"/>
                      </a:endParaRPr>
                    </a:p>
                  </a:txBody>
                  <a:tcPr marL="182880" marR="182880" marT="91440" marB="9144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r>
                        <a:rPr lang="en-US" sz="4300" kern="1200" dirty="0">
                          <a:solidFill>
                            <a:schemeClr val="tx1"/>
                          </a:solidFill>
                          <a:latin typeface="IBM Plex Sans" panose="020B0503050203000203" pitchFamily="34" charset="0"/>
                        </a:rPr>
                        <a:t>IBM </a:t>
                      </a:r>
                      <a:endParaRPr lang="en-IL" sz="4300" kern="1200" dirty="0">
                        <a:solidFill>
                          <a:schemeClr val="tx1"/>
                        </a:solidFill>
                        <a:latin typeface="IBM Plex Sans" panose="020B0503050203000203" pitchFamily="34" charset="0"/>
                        <a:ea typeface="+mn-ea"/>
                        <a:cs typeface="+mn-cs"/>
                      </a:endParaRPr>
                    </a:p>
                  </a:txBody>
                  <a:tcPr marL="182880" marR="18288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endParaRPr lang="en-IL" sz="900" dirty="0">
                        <a:solidFill>
                          <a:schemeClr val="tx1"/>
                        </a:solidFill>
                        <a:latin typeface="IBM Plex Sans" panose="020B0503050203000203" pitchFamily="34" charset="0"/>
                      </a:endParaRPr>
                    </a:p>
                  </a:txBody>
                  <a:tcPr marL="68580" marR="68580" marT="34290" marB="34290"/>
                </a:tc>
                <a:tc rowSpan="2">
                  <a:txBody>
                    <a:bodyPr/>
                    <a:lstStyle/>
                    <a:p>
                      <a:pPr algn="l"/>
                      <a:r>
                        <a:rPr lang="en-US" sz="4300" kern="1200" dirty="0">
                          <a:solidFill>
                            <a:schemeClr val="tx1"/>
                          </a:solidFill>
                          <a:latin typeface="IBM Plex Sans" panose="020B0503050203000203" pitchFamily="34" charset="0"/>
                        </a:rPr>
                        <a:t>20 min </a:t>
                      </a:r>
                      <a:endParaRPr lang="en-IL" sz="4300" kern="1200" dirty="0">
                        <a:solidFill>
                          <a:schemeClr val="tx1"/>
                        </a:solidFill>
                        <a:latin typeface="IBM Plex Sans" panose="020B0503050203000203" pitchFamily="34" charset="0"/>
                        <a:ea typeface="+mn-ea"/>
                        <a:cs typeface="+mn-cs"/>
                      </a:endParaRPr>
                    </a:p>
                  </a:txBody>
                  <a:tcPr marL="182880" marR="182880" marT="91440" marB="9144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24879426"/>
                  </a:ext>
                </a:extLst>
              </a:tr>
              <a:tr h="608357">
                <a:tc rowSpan="2">
                  <a:txBody>
                    <a:bodyPr/>
                    <a:lstStyle/>
                    <a:p>
                      <a:pPr algn="l"/>
                      <a:r>
                        <a:rPr lang="en-US" sz="4300" kern="1200">
                          <a:solidFill>
                            <a:schemeClr val="tx1"/>
                          </a:solidFill>
                          <a:latin typeface="IBM Plex Sans" panose="020B0503050203000203" pitchFamily="34" charset="0"/>
                        </a:rPr>
                        <a:t>Open discussions &amp;</a:t>
                      </a:r>
                    </a:p>
                    <a:p>
                      <a:pPr algn="l"/>
                      <a:r>
                        <a:rPr lang="en-US" sz="4300" kern="1200">
                          <a:solidFill>
                            <a:schemeClr val="tx1"/>
                          </a:solidFill>
                          <a:latin typeface="IBM Plex Sans" panose="020B0503050203000203" pitchFamily="34" charset="0"/>
                        </a:rPr>
                        <a:t>Next steps </a:t>
                      </a:r>
                      <a:endParaRPr lang="en-IL" sz="4300" kern="1200" dirty="0">
                        <a:solidFill>
                          <a:schemeClr val="tx1"/>
                        </a:solidFill>
                        <a:latin typeface="IBM Plex Sans" panose="020B0503050203000203" pitchFamily="34" charset="0"/>
                      </a:endParaRPr>
                    </a:p>
                  </a:txBody>
                  <a:tcPr marL="182880" marR="182880" marT="91440" marB="91440">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bg1"/>
                    </a:solidFill>
                  </a:tcPr>
                </a:tc>
                <a:tc rowSpan="2">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r>
                        <a:rPr lang="en-AU" sz="4300" kern="1200" dirty="0">
                          <a:solidFill>
                            <a:schemeClr val="tx1"/>
                          </a:solidFill>
                          <a:latin typeface="IBM Plex Sans" panose="020B0503050203000203" pitchFamily="34" charset="0"/>
                        </a:rPr>
                        <a:t>All </a:t>
                      </a:r>
                      <a:endParaRPr lang="en-IL" sz="4300" kern="1200" dirty="0">
                        <a:solidFill>
                          <a:schemeClr val="tx1"/>
                        </a:solidFill>
                        <a:latin typeface="IBM Plex Sans" panose="020B0503050203000203" pitchFamily="34" charset="0"/>
                        <a:ea typeface="+mn-ea"/>
                        <a:cs typeface="+mn-cs"/>
                      </a:endParaRPr>
                    </a:p>
                  </a:txBody>
                  <a:tcPr marL="182880" marR="18288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bg1"/>
                    </a:solidFill>
                  </a:tcPr>
                </a:tc>
                <a:tc vMerge="1">
                  <a:txBody>
                    <a:bodyPr/>
                    <a:lstStyle/>
                    <a:p>
                      <a:endParaRPr lang="en-US"/>
                    </a:p>
                  </a:txBody>
                  <a:tcPr/>
                </a:tc>
                <a:tc vMerge="1">
                  <a:txBody>
                    <a:bodyPr/>
                    <a:lstStyle/>
                    <a:p>
                      <a:pPr algn="l"/>
                      <a:endParaRPr lang="en-IL" sz="1600" kern="1200" dirty="0">
                        <a:solidFill>
                          <a:schemeClr val="tx1"/>
                        </a:solidFill>
                        <a:latin typeface="IBM Plex Sans" panose="020B0503050203000203"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32808524"/>
                  </a:ext>
                </a:extLst>
              </a:tr>
              <a:tr h="1230643">
                <a:tc vMerge="1">
                  <a:txBody>
                    <a:bodyPr/>
                    <a:lstStyle/>
                    <a:p>
                      <a:pPr algn="l"/>
                      <a:r>
                        <a:rPr lang="en-US" sz="1600" kern="1200" dirty="0">
                          <a:solidFill>
                            <a:schemeClr val="tx1"/>
                          </a:solidFill>
                          <a:latin typeface="IBM Plex Sans" panose="020B0503050203000203" pitchFamily="34" charset="0"/>
                        </a:rPr>
                        <a:t>Open discussions &amp;</a:t>
                      </a:r>
                    </a:p>
                    <a:p>
                      <a:pPr algn="l"/>
                      <a:r>
                        <a:rPr lang="en-US" sz="1600" kern="1200" dirty="0">
                          <a:solidFill>
                            <a:schemeClr val="tx1"/>
                          </a:solidFill>
                          <a:latin typeface="IBM Plex Sans" panose="020B0503050203000203" pitchFamily="34" charset="0"/>
                        </a:rPr>
                        <a:t>Next steps </a:t>
                      </a:r>
                      <a:endParaRPr lang="en-US" sz="1600" kern="1200" dirty="0">
                        <a:solidFill>
                          <a:schemeClr val="tx1"/>
                        </a:solidFill>
                        <a:latin typeface="IBM Plex Sans" panose="020B0503050203000203" pitchFamily="34" charset="0"/>
                        <a:ea typeface="+mn-ea"/>
                        <a:cs typeface="+mn-cs"/>
                      </a:endParaRPr>
                    </a:p>
                  </a:txBody>
                  <a:tcPr marL="68580" marR="68580" marT="34290" marB="34290">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tcPr>
                </a:tc>
                <a:tc vMerge="1">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r>
                        <a:rPr lang="en-AU" sz="1600" kern="1200" dirty="0">
                          <a:solidFill>
                            <a:schemeClr val="tx1"/>
                          </a:solidFill>
                          <a:latin typeface="IBM Plex Sans" panose="020B0503050203000203" pitchFamily="34" charset="0"/>
                        </a:rPr>
                        <a:t>All </a:t>
                      </a:r>
                      <a:endParaRPr lang="en-IL" sz="1600" kern="1200" dirty="0">
                        <a:solidFill>
                          <a:schemeClr val="tx1"/>
                        </a:solidFill>
                        <a:latin typeface="IBM Plex Sans" panose="020B0503050203000203"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tcPr>
                </a:tc>
                <a:tc vMerge="1">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endParaRPr lang="en-IL" sz="900" dirty="0">
                        <a:solidFill>
                          <a:schemeClr val="tx1"/>
                        </a:solidFill>
                        <a:latin typeface="IBM Plex Sans" panose="020B0503050203000203" pitchFamily="34" charset="0"/>
                      </a:endParaRPr>
                    </a:p>
                  </a:txBody>
                  <a:tcPr marL="68580" marR="68580" marT="34290" marB="34290"/>
                </a:tc>
                <a:tc>
                  <a:txBody>
                    <a:bodyPr/>
                    <a:lstStyle/>
                    <a:p>
                      <a:pPr algn="l"/>
                      <a:r>
                        <a:rPr lang="en-US" sz="4300" dirty="0">
                          <a:solidFill>
                            <a:schemeClr val="tx1"/>
                          </a:solidFill>
                          <a:latin typeface="IBM Plex Sans" panose="020B0503050203000203" pitchFamily="34" charset="0"/>
                        </a:rPr>
                        <a:t>10 min </a:t>
                      </a:r>
                      <a:endParaRPr lang="en-IL" sz="4300" dirty="0">
                        <a:solidFill>
                          <a:schemeClr val="tx1"/>
                        </a:solidFill>
                        <a:latin typeface="IBM Plex Sans" panose="020B0503050203000203" pitchFamily="34" charset="0"/>
                      </a:endParaRPr>
                    </a:p>
                  </a:txBody>
                  <a:tcPr marL="182880" marR="182880" marT="91440" marB="9144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4063127240"/>
                  </a:ext>
                </a:extLst>
              </a:tr>
            </a:tbl>
          </a:graphicData>
        </a:graphic>
      </p:graphicFrame>
      <p:pic>
        <p:nvPicPr>
          <p:cNvPr id="18" name="Picture 17">
            <a:extLst>
              <a:ext uri="{FF2B5EF4-FFF2-40B4-BE49-F238E27FC236}">
                <a16:creationId xmlns:a16="http://schemas.microsoft.com/office/drawing/2014/main" id="{762C6D91-C092-B9CD-E4AD-A19BA9380F3D}"/>
              </a:ext>
            </a:extLst>
          </p:cNvPr>
          <p:cNvPicPr>
            <a:picLocks noChangeAspect="1"/>
          </p:cNvPicPr>
          <p:nvPr/>
        </p:nvPicPr>
        <p:blipFill>
          <a:blip r:embed="rId4"/>
          <a:stretch>
            <a:fillRect/>
          </a:stretch>
        </p:blipFill>
        <p:spPr>
          <a:xfrm>
            <a:off x="22080240" y="12403845"/>
            <a:ext cx="2032000" cy="965200"/>
          </a:xfrm>
          <a:prstGeom prst="rect">
            <a:avLst/>
          </a:prstGeom>
        </p:spPr>
      </p:pic>
      <p:sp>
        <p:nvSpPr>
          <p:cNvPr id="10" name="Process 9">
            <a:extLst>
              <a:ext uri="{FF2B5EF4-FFF2-40B4-BE49-F238E27FC236}">
                <a16:creationId xmlns:a16="http://schemas.microsoft.com/office/drawing/2014/main" id="{57CCBBBA-445A-D944-7B33-A0842476403D}"/>
              </a:ext>
            </a:extLst>
          </p:cNvPr>
          <p:cNvSpPr/>
          <p:nvPr/>
        </p:nvSpPr>
        <p:spPr>
          <a:xfrm>
            <a:off x="21244406" y="124204"/>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23"/>
            <a:r>
              <a:rPr lang="en-US" sz="3600" dirty="0">
                <a:solidFill>
                  <a:srgbClr val="7F7F7F"/>
                </a:solidFill>
                <a:latin typeface="Calibri" panose="020F0502020204030204"/>
                <a:ea typeface="Helvetica Neue"/>
                <a:cs typeface="Helvetica Neue"/>
              </a:rPr>
              <a:t>Customer</a:t>
            </a:r>
          </a:p>
          <a:p>
            <a:pPr defTabSz="1828823"/>
            <a:r>
              <a:rPr lang="en-US" sz="3600" dirty="0">
                <a:solidFill>
                  <a:srgbClr val="7F7F7F"/>
                </a:solidFill>
                <a:latin typeface="Calibri" panose="020F0502020204030204"/>
                <a:ea typeface="Helvetica Neue"/>
                <a:cs typeface="Helvetica Neue"/>
              </a:rPr>
              <a:t>Logo</a:t>
            </a:r>
          </a:p>
        </p:txBody>
      </p:sp>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1AD023D-0CAF-48FB-92D2-613B79F9FE1B}"/>
              </a:ext>
            </a:extLst>
          </p:cNvPr>
          <p:cNvSpPr/>
          <p:nvPr/>
        </p:nvSpPr>
        <p:spPr>
          <a:xfrm>
            <a:off x="24977546" y="106447"/>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1 - No engagement</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2 - Internal engagement only</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3 - Client &amp; IBM engagement</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4 - Hold your own meeting w/ client</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5 - Trusted Advisor to Client</a:t>
            </a:r>
          </a:p>
        </p:txBody>
      </p:sp>
      <p:cxnSp>
        <p:nvCxnSpPr>
          <p:cNvPr id="8" name="Straight Arrow Connector 7">
            <a:extLst>
              <a:ext uri="{FF2B5EF4-FFF2-40B4-BE49-F238E27FC236}">
                <a16:creationId xmlns:a16="http://schemas.microsoft.com/office/drawing/2014/main" id="{3B13BCE3-1763-F944-AE43-D86DA7868064}"/>
              </a:ext>
            </a:extLst>
          </p:cNvPr>
          <p:cNvCxnSpPr>
            <a:stCxn id="5" idx="1"/>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87D05257-EBA8-C941-AF99-4B34A2D0698B}"/>
              </a:ext>
            </a:extLst>
          </p:cNvPr>
          <p:cNvSpPr/>
          <p:nvPr/>
        </p:nvSpPr>
        <p:spPr>
          <a:xfrm>
            <a:off x="24977546" y="2216461"/>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CTL : Client Technical Lead </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CL: Software Client Lead </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TA: Software Technical Architect</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DL: Software Deployment Lead </a:t>
            </a:r>
          </a:p>
          <a:p>
            <a:pPr marL="0" marR="0" lvl="0" indent="0" algn="ctr" defTabSz="2438338" rtl="0" eaLnBrk="1" fontAlgn="auto" latinLnBrk="0" hangingPunct="0">
              <a:lnSpc>
                <a:spcPct val="100000"/>
              </a:lnSpc>
              <a:spcBef>
                <a:spcPts val="0"/>
              </a:spcBef>
              <a:spcAft>
                <a:spcPts val="0"/>
              </a:spcAft>
              <a:buClrTx/>
              <a:buSzTx/>
              <a:buFontTx/>
              <a:buNone/>
              <a:tabLst/>
              <a:defRPr/>
            </a:pPr>
            <a:endPar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endParaRPr>
          </a:p>
        </p:txBody>
      </p:sp>
      <p:sp>
        <p:nvSpPr>
          <p:cNvPr id="13" name="TextBox 12">
            <a:extLst>
              <a:ext uri="{FF2B5EF4-FFF2-40B4-BE49-F238E27FC236}">
                <a16:creationId xmlns:a16="http://schemas.microsoft.com/office/drawing/2014/main" id="{8FE14B9B-B14F-6440-8558-22CDC1A4CE36}"/>
              </a:ext>
            </a:extLst>
          </p:cNvPr>
          <p:cNvSpPr txBox="1"/>
          <p:nvPr/>
        </p:nvSpPr>
        <p:spPr>
          <a:xfrm>
            <a:off x="120808" y="2677977"/>
            <a:ext cx="12490786" cy="10379316"/>
          </a:xfrm>
          <a:prstGeom prst="rect">
            <a:avLst/>
          </a:prstGeom>
          <a:noFill/>
          <a:ln>
            <a:solidFill>
              <a:schemeClr val="accent6">
                <a:lumMod val="75000"/>
              </a:schemeClr>
            </a:solidFill>
          </a:ln>
        </p:spPr>
        <p:txBody>
          <a:bodyPr wrap="square" rtlCol="0">
            <a:spAutoFit/>
          </a:bodyPr>
          <a:lstStyle/>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Business Strategy / Objectives – Requirements </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kumimoji="0" lang="en-AU" sz="360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rPr>
              <a:t>Program priorities - </a:t>
            </a:r>
            <a:r>
              <a:rPr lang="en-AU" sz="3600" kern="1200" dirty="0">
                <a:latin typeface="Arial" panose="020B0604020202020204" pitchFamily="34" charset="0"/>
                <a:ea typeface="Arial" panose="020B0604020202020204" pitchFamily="34" charset="0"/>
                <a:cs typeface="Arial" panose="020B0604020202020204" pitchFamily="34" charset="0"/>
              </a:rPr>
              <a:t>related projects </a:t>
            </a:r>
          </a:p>
          <a:p>
            <a:pPr marL="457200" marR="0" lvl="0" indent="-4572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 Relationship between IBM and customer / partner</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Hybrid Cloud Strategy and current Architecture </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Use cases in focus </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IBM Technology Level of adoption  </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IBM Point products in use or via Cloud </a:t>
            </a:r>
            <a:r>
              <a:rPr lang="en-AU" sz="3600" kern="1200" dirty="0" err="1">
                <a:latin typeface="Arial" panose="020B0604020202020204" pitchFamily="34" charset="0"/>
                <a:ea typeface="Arial" panose="020B0604020202020204" pitchFamily="34" charset="0"/>
                <a:cs typeface="Arial" panose="020B0604020202020204" pitchFamily="34" charset="0"/>
              </a:rPr>
              <a:t>Paks</a:t>
            </a:r>
            <a:r>
              <a:rPr lang="en-AU" sz="3600" kern="1200" dirty="0">
                <a:latin typeface="Arial" panose="020B0604020202020204" pitchFamily="34" charset="0"/>
                <a:ea typeface="Arial" panose="020B0604020202020204" pitchFamily="34" charset="0"/>
                <a:cs typeface="Arial" panose="020B0604020202020204" pitchFamily="34" charset="0"/>
              </a:rPr>
              <a:t> </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kumimoji="0" lang="en-AU" sz="360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rPr>
              <a:t>OCP level of adoption </a:t>
            </a:r>
            <a:r>
              <a:rPr kumimoji="0" lang="en-AU" sz="3600" b="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rPr>
              <a:t>– if applicable </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a:t>
            </a:r>
            <a:endParaRPr kumimoji="0" lang="en-AU" sz="3600" b="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lang="en-AU" sz="3600" kern="1200" dirty="0">
              <a:latin typeface="Arial" panose="020B0604020202020204" pitchFamily="34" charset="0"/>
              <a:ea typeface="Arial" panose="020B0604020202020204" pitchFamily="34" charset="0"/>
              <a:cs typeface="Arial" panose="020B0604020202020204" pitchFamily="34" charset="0"/>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kumimoji="0" lang="en-AU" sz="3200" b="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lang="en-AU" sz="3200" kern="1200" dirty="0">
              <a:latin typeface="Arial" panose="020B0604020202020204" pitchFamily="34" charset="0"/>
              <a:ea typeface="Arial" panose="020B0604020202020204" pitchFamily="34" charset="0"/>
              <a:cs typeface="Arial" panose="020B0604020202020204" pitchFamily="34" charset="0"/>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kumimoji="0" lang="en-AU" sz="3200" b="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lang="en-AU" sz="3200" kern="1200" dirty="0">
              <a:latin typeface="Arial" panose="020B0604020202020204" pitchFamily="34" charset="0"/>
              <a:ea typeface="Arial" panose="020B0604020202020204" pitchFamily="34" charset="0"/>
              <a:cs typeface="Arial" panose="020B0604020202020204" pitchFamily="34" charset="0"/>
            </a:endParaRPr>
          </a:p>
          <a:p>
            <a:pPr marR="0" lvl="0" algn="l" defTabSz="1828754" rtl="0" eaLnBrk="1" fontAlgn="auto" latinLnBrk="0" hangingPunct="0">
              <a:lnSpc>
                <a:spcPct val="115000"/>
              </a:lnSpc>
              <a:spcBef>
                <a:spcPts val="0"/>
              </a:spcBef>
              <a:spcAft>
                <a:spcPts val="0"/>
              </a:spcAft>
              <a:buClrTx/>
              <a:buSzTx/>
              <a:tabLst>
                <a:tab pos="1280160" algn="l"/>
              </a:tabLst>
              <a:defRPr/>
            </a:pPr>
            <a:endParaRPr kumimoji="0" lang="en-AU" sz="3200" b="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lang="en-AU" sz="3200" kern="1200" dirty="0">
              <a:latin typeface="Arial" panose="020B0604020202020204" pitchFamily="34" charset="0"/>
              <a:ea typeface="Arial" panose="020B0604020202020204" pitchFamily="34" charset="0"/>
              <a:cs typeface="Arial" panose="020B0604020202020204" pitchFamily="34" charset="0"/>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kumimoji="0" lang="en-AU" sz="3200" b="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endParaRPr>
          </a:p>
        </p:txBody>
      </p:sp>
      <p:grpSp>
        <p:nvGrpSpPr>
          <p:cNvPr id="3" name="Group 2">
            <a:extLst>
              <a:ext uri="{FF2B5EF4-FFF2-40B4-BE49-F238E27FC236}">
                <a16:creationId xmlns:a16="http://schemas.microsoft.com/office/drawing/2014/main" id="{5BD866E0-BBE1-7B46-AB81-3202DB85B10E}"/>
              </a:ext>
            </a:extLst>
          </p:cNvPr>
          <p:cNvGrpSpPr/>
          <p:nvPr/>
        </p:nvGrpSpPr>
        <p:grpSpPr>
          <a:xfrm>
            <a:off x="13142466" y="8524321"/>
            <a:ext cx="10149612" cy="1211383"/>
            <a:chOff x="6274658" y="4263424"/>
            <a:chExt cx="5409767" cy="640601"/>
          </a:xfrm>
        </p:grpSpPr>
        <p:sp>
          <p:nvSpPr>
            <p:cNvPr id="17" name="TextBox 16">
              <a:extLst>
                <a:ext uri="{FF2B5EF4-FFF2-40B4-BE49-F238E27FC236}">
                  <a16:creationId xmlns:a16="http://schemas.microsoft.com/office/drawing/2014/main" id="{98586DD4-2BD2-C74D-82DF-4D503266CF00}"/>
                </a:ext>
              </a:extLst>
            </p:cNvPr>
            <p:cNvSpPr txBox="1"/>
            <p:nvPr/>
          </p:nvSpPr>
          <p:spPr>
            <a:xfrm>
              <a:off x="6274658" y="4263424"/>
              <a:ext cx="5399265" cy="258582"/>
            </a:xfrm>
            <a:prstGeom prst="rect">
              <a:avLst/>
            </a:prstGeom>
            <a:solidFill>
              <a:srgbClr val="1061FE"/>
            </a:solidFill>
            <a:ln>
              <a:solidFill>
                <a:schemeClr val="accent6">
                  <a:lumMod val="75000"/>
                </a:schemeClr>
              </a:solidFill>
            </a:ln>
          </p:spPr>
          <p:txBody>
            <a:bodyPr wrap="square" rtlCol="0">
              <a:spAutoFit/>
            </a:bodyPr>
            <a:lstStyle/>
            <a:p>
              <a:pPr marL="0" marR="0" lvl="0" indent="0" algn="ctr" defTabSz="1828754" rtl="0" eaLnBrk="1" fontAlgn="auto" latinLnBrk="0" hangingPunct="0">
                <a:lnSpc>
                  <a:spcPct val="115000"/>
                </a:lnSpc>
                <a:spcBef>
                  <a:spcPts val="0"/>
                </a:spcBef>
                <a:spcAft>
                  <a:spcPts val="0"/>
                </a:spcAft>
                <a:buClrTx/>
                <a:buSzTx/>
                <a:buFontTx/>
                <a:buNone/>
                <a:tabLst>
                  <a:tab pos="1280160" algn="l"/>
                </a:tabLst>
                <a:defRPr/>
              </a:pPr>
              <a:r>
                <a:rPr kumimoji="0" lang="en-AU" b="1" i="0" u="none" strike="noStrike" kern="1200" cap="none" spc="0" normalizeH="0" baseline="0" noProof="0" dirty="0">
                  <a:ln>
                    <a:noFill/>
                  </a:ln>
                  <a:solidFill>
                    <a:schemeClr val="bg1"/>
                  </a:solidFill>
                  <a:effectLst/>
                  <a:uLnTx/>
                  <a:uFillTx/>
                  <a:latin typeface="IBM Plex Sans" panose="020B0503050203000203" pitchFamily="34" charset="0"/>
                  <a:ea typeface="Times New Roman" panose="02020603050405020304" pitchFamily="18" charset="0"/>
                  <a:cs typeface="Arial" panose="020B0604020202020204" pitchFamily="34" charset="0"/>
                  <a:sym typeface="Helvetica Neue"/>
                </a:rPr>
                <a:t>END OF SUP</a:t>
              </a:r>
              <a:r>
                <a:rPr kumimoji="0" lang="en-AU" b="1" i="0" u="none" strike="noStrike" kern="0" cap="none" spc="0" normalizeH="0" baseline="0" noProof="0" dirty="0">
                  <a:ln>
                    <a:noFill/>
                  </a:ln>
                  <a:solidFill>
                    <a:schemeClr val="bg1"/>
                  </a:solidFill>
                  <a:effectLst/>
                  <a:uLnTx/>
                  <a:uFillTx/>
                  <a:latin typeface="IBM Plex Sans" panose="020B0503050203000203" pitchFamily="34" charset="0"/>
                  <a:ea typeface="Times New Roman" panose="02020603050405020304" pitchFamily="18" charset="0"/>
                  <a:cs typeface="Arial" panose="020B0604020202020204" pitchFamily="34" charset="0"/>
                  <a:sym typeface="Helvetica Neue"/>
                </a:rPr>
                <a:t>PORT PRODUCTS </a:t>
              </a:r>
              <a:endParaRPr kumimoji="0" lang="en-AU" b="1" i="0" u="none" strike="noStrike" kern="1200" cap="none" spc="0" normalizeH="0" baseline="0" noProof="0" dirty="0">
                <a:ln>
                  <a:noFill/>
                </a:ln>
                <a:solidFill>
                  <a:schemeClr val="bg1"/>
                </a:solidFill>
                <a:effectLst/>
                <a:uLnTx/>
                <a:uFillTx/>
                <a:latin typeface="IBM Plex Sans" panose="020B0503050203000203" pitchFamily="34" charset="0"/>
                <a:ea typeface="Times New Roman" panose="02020603050405020304" pitchFamily="18" charset="0"/>
                <a:cs typeface="Times New Roman" panose="02020603050405020304" pitchFamily="18" charset="0"/>
                <a:sym typeface="Helvetica Neue"/>
              </a:endParaRPr>
            </a:p>
          </p:txBody>
        </p:sp>
        <p:sp>
          <p:nvSpPr>
            <p:cNvPr id="18" name="TextBox 17">
              <a:extLst>
                <a:ext uri="{FF2B5EF4-FFF2-40B4-BE49-F238E27FC236}">
                  <a16:creationId xmlns:a16="http://schemas.microsoft.com/office/drawing/2014/main" id="{7F8218F1-37E0-AB4C-98B3-CC54F06A5D92}"/>
                </a:ext>
              </a:extLst>
            </p:cNvPr>
            <p:cNvSpPr txBox="1"/>
            <p:nvPr/>
          </p:nvSpPr>
          <p:spPr>
            <a:xfrm>
              <a:off x="6285161" y="4627337"/>
              <a:ext cx="5399264" cy="276688"/>
            </a:xfrm>
            <a:prstGeom prst="rect">
              <a:avLst/>
            </a:prstGeom>
            <a:solidFill>
              <a:schemeClr val="bg1"/>
            </a:solidFill>
            <a:ln>
              <a:solidFill>
                <a:schemeClr val="tx1"/>
              </a:solidFill>
            </a:ln>
          </p:spPr>
          <p:txBody>
            <a:bodyPr wrap="square" rtlCol="0">
              <a:sp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endParaRPr kumimoji="0" lang="en-AU" sz="2800" b="0"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ea typeface="Times New Roman" panose="02020603050405020304" pitchFamily="18" charset="0"/>
                <a:cs typeface="+mn-cs"/>
                <a:sym typeface="Helvetica Neue"/>
              </a:endParaRPr>
            </a:p>
          </p:txBody>
        </p:sp>
      </p:grpSp>
      <p:sp>
        <p:nvSpPr>
          <p:cNvPr id="19" name="Title 6">
            <a:extLst>
              <a:ext uri="{FF2B5EF4-FFF2-40B4-BE49-F238E27FC236}">
                <a16:creationId xmlns:a16="http://schemas.microsoft.com/office/drawing/2014/main" id="{D58451AF-7666-404E-AB9B-9CC38D8A48F9}"/>
              </a:ext>
            </a:extLst>
          </p:cNvPr>
          <p:cNvSpPr>
            <a:spLocks noGrp="1"/>
          </p:cNvSpPr>
          <p:nvPr>
            <p:ph type="title"/>
          </p:nvPr>
        </p:nvSpPr>
        <p:spPr>
          <a:xfrm>
            <a:off x="217084" y="392963"/>
            <a:ext cx="21728516" cy="1093710"/>
          </a:xfrm>
        </p:spPr>
        <p:txBody>
          <a:bodyPr/>
          <a:lstStyle/>
          <a:p>
            <a:r>
              <a:rPr lang="en-AU" dirty="0"/>
              <a:t>Brief summary / Quick Recap</a:t>
            </a:r>
            <a:br>
              <a:rPr lang="en-AU" sz="3600" dirty="0"/>
            </a:br>
            <a:r>
              <a:rPr lang="en-AU" sz="3600" dirty="0"/>
              <a:t>Customer Validation </a:t>
            </a:r>
          </a:p>
        </p:txBody>
      </p:sp>
      <p:grpSp>
        <p:nvGrpSpPr>
          <p:cNvPr id="15" name="Group 14">
            <a:extLst>
              <a:ext uri="{FF2B5EF4-FFF2-40B4-BE49-F238E27FC236}">
                <a16:creationId xmlns:a16="http://schemas.microsoft.com/office/drawing/2014/main" id="{A8D1C5E4-5A21-F24C-9477-F6A93B714141}"/>
              </a:ext>
            </a:extLst>
          </p:cNvPr>
          <p:cNvGrpSpPr/>
          <p:nvPr/>
        </p:nvGrpSpPr>
        <p:grpSpPr>
          <a:xfrm>
            <a:off x="13162724" y="1656579"/>
            <a:ext cx="11303801" cy="4886594"/>
            <a:chOff x="6987773" y="670293"/>
            <a:chExt cx="4548067" cy="2443297"/>
          </a:xfrm>
        </p:grpSpPr>
        <p:sp>
          <p:nvSpPr>
            <p:cNvPr id="14" name="Rectangle 13">
              <a:extLst>
                <a:ext uri="{FF2B5EF4-FFF2-40B4-BE49-F238E27FC236}">
                  <a16:creationId xmlns:a16="http://schemas.microsoft.com/office/drawing/2014/main" id="{759BD64F-3D93-5D4F-9A30-6882CF7B5411}"/>
                </a:ext>
              </a:extLst>
            </p:cNvPr>
            <p:cNvSpPr/>
            <p:nvPr/>
          </p:nvSpPr>
          <p:spPr bwMode="auto">
            <a:xfrm>
              <a:off x="9485652" y="2454660"/>
              <a:ext cx="1498801" cy="649710"/>
            </a:xfrm>
            <a:prstGeom prst="rect">
              <a:avLst/>
            </a:prstGeom>
            <a:solidFill>
              <a:schemeClr val="tx1">
                <a:lumMod val="95000"/>
                <a:lumOff val="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2000" tIns="72000" rIns="72000" bIns="72000" numCol="1" rtlCol="0" anchor="t" anchorCtr="0" compatLnSpc="1">
              <a:prstTxWarp prst="textNoShape">
                <a:avLst/>
              </a:prstTxWarp>
            </a:bodyPr>
            <a:lstStyle/>
            <a:p>
              <a:pPr marL="0" marR="0" lvl="0" indent="0" algn="l" defTabSz="1828800"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Helvetica Neue"/>
              </a:endParaRPr>
            </a:p>
          </p:txBody>
        </p:sp>
        <p:grpSp>
          <p:nvGrpSpPr>
            <p:cNvPr id="12" name="Group 11">
              <a:extLst>
                <a:ext uri="{FF2B5EF4-FFF2-40B4-BE49-F238E27FC236}">
                  <a16:creationId xmlns:a16="http://schemas.microsoft.com/office/drawing/2014/main" id="{980BADF4-25B3-7A43-9688-A51BA940B19C}"/>
                </a:ext>
              </a:extLst>
            </p:cNvPr>
            <p:cNvGrpSpPr/>
            <p:nvPr/>
          </p:nvGrpSpPr>
          <p:grpSpPr>
            <a:xfrm>
              <a:off x="6987773" y="670293"/>
              <a:ext cx="4548067" cy="2443297"/>
              <a:chOff x="6299656" y="737802"/>
              <a:chExt cx="4548067" cy="2443297"/>
            </a:xfrm>
          </p:grpSpPr>
          <p:pic>
            <p:nvPicPr>
              <p:cNvPr id="6" name="Picture 5">
                <a:extLst>
                  <a:ext uri="{FF2B5EF4-FFF2-40B4-BE49-F238E27FC236}">
                    <a16:creationId xmlns:a16="http://schemas.microsoft.com/office/drawing/2014/main" id="{18431C25-E75B-2449-B96B-629EE34E088F}"/>
                  </a:ext>
                </a:extLst>
              </p:cNvPr>
              <p:cNvPicPr>
                <a:picLocks noChangeAspect="1"/>
              </p:cNvPicPr>
              <p:nvPr/>
            </p:nvPicPr>
            <p:blipFill>
              <a:blip r:embed="rId3"/>
              <a:stretch>
                <a:fillRect/>
              </a:stretch>
            </p:blipFill>
            <p:spPr>
              <a:xfrm>
                <a:off x="8797535" y="1010666"/>
                <a:ext cx="1498801" cy="1494688"/>
              </a:xfrm>
              <a:prstGeom prst="rect">
                <a:avLst/>
              </a:prstGeom>
            </p:spPr>
          </p:pic>
          <p:pic>
            <p:nvPicPr>
              <p:cNvPr id="4" name="Picture 3">
                <a:extLst>
                  <a:ext uri="{FF2B5EF4-FFF2-40B4-BE49-F238E27FC236}">
                    <a16:creationId xmlns:a16="http://schemas.microsoft.com/office/drawing/2014/main" id="{01EC51A2-8A84-6A42-AB53-EE3E34E73979}"/>
                  </a:ext>
                </a:extLst>
              </p:cNvPr>
              <p:cNvPicPr>
                <a:picLocks noChangeAspect="1"/>
              </p:cNvPicPr>
              <p:nvPr/>
            </p:nvPicPr>
            <p:blipFill>
              <a:blip r:embed="rId4"/>
              <a:stretch>
                <a:fillRect/>
              </a:stretch>
            </p:blipFill>
            <p:spPr>
              <a:xfrm>
                <a:off x="6321195" y="1017743"/>
                <a:ext cx="2439866" cy="2163356"/>
              </a:xfrm>
              <a:prstGeom prst="rect">
                <a:avLst/>
              </a:prstGeom>
            </p:spPr>
          </p:pic>
          <p:pic>
            <p:nvPicPr>
              <p:cNvPr id="11" name="Picture 10">
                <a:extLst>
                  <a:ext uri="{FF2B5EF4-FFF2-40B4-BE49-F238E27FC236}">
                    <a16:creationId xmlns:a16="http://schemas.microsoft.com/office/drawing/2014/main" id="{F2587382-6F40-D246-BB5D-0B7A7CCA98E9}"/>
                  </a:ext>
                </a:extLst>
              </p:cNvPr>
              <p:cNvPicPr>
                <a:picLocks noChangeAspect="1"/>
              </p:cNvPicPr>
              <p:nvPr/>
            </p:nvPicPr>
            <p:blipFill>
              <a:blip r:embed="rId5"/>
              <a:stretch>
                <a:fillRect/>
              </a:stretch>
            </p:blipFill>
            <p:spPr>
              <a:xfrm>
                <a:off x="8893877" y="2604945"/>
                <a:ext cx="1312965" cy="464861"/>
              </a:xfrm>
              <a:prstGeom prst="rect">
                <a:avLst/>
              </a:prstGeom>
            </p:spPr>
          </p:pic>
          <p:sp>
            <p:nvSpPr>
              <p:cNvPr id="32" name="TextBox 31">
                <a:extLst>
                  <a:ext uri="{FF2B5EF4-FFF2-40B4-BE49-F238E27FC236}">
                    <a16:creationId xmlns:a16="http://schemas.microsoft.com/office/drawing/2014/main" id="{55F6629D-A616-8140-98FF-9F74F2F91CE0}"/>
                  </a:ext>
                </a:extLst>
              </p:cNvPr>
              <p:cNvSpPr txBox="1"/>
              <p:nvPr/>
            </p:nvSpPr>
            <p:spPr>
              <a:xfrm>
                <a:off x="6299656" y="737802"/>
                <a:ext cx="4548067" cy="272864"/>
              </a:xfrm>
              <a:prstGeom prst="rect">
                <a:avLst/>
              </a:prstGeom>
              <a:noFill/>
              <a:ln>
                <a:noFill/>
              </a:ln>
            </p:spPr>
            <p:txBody>
              <a:bodyPr wrap="square" rtlCol="0">
                <a:spAutoFit/>
              </a:bodyPr>
              <a:lstStyle/>
              <a:p>
                <a:pPr marL="0" marR="0" lvl="0" indent="0" algn="ctr" defTabSz="1828754" rtl="0" eaLnBrk="1" fontAlgn="auto" latinLnBrk="0" hangingPunct="0">
                  <a:lnSpc>
                    <a:spcPct val="115000"/>
                  </a:lnSpc>
                  <a:spcBef>
                    <a:spcPts val="0"/>
                  </a:spcBef>
                  <a:spcAft>
                    <a:spcPts val="0"/>
                  </a:spcAft>
                  <a:buClrTx/>
                  <a:buSzTx/>
                  <a:buFontTx/>
                  <a:buNone/>
                  <a:tabLst>
                    <a:tab pos="1280160" algn="l"/>
                  </a:tabLst>
                  <a:defRPr/>
                </a:pPr>
                <a:r>
                  <a:rPr kumimoji="0" lang="en-AU" sz="2800" b="1" i="0" u="none" strike="noStrike" kern="1200" cap="none" spc="0" normalizeH="0" baseline="0" noProof="0" dirty="0">
                    <a:ln>
                      <a:noFill/>
                    </a:ln>
                    <a:solidFill>
                      <a:srgbClr val="5E5E5E"/>
                    </a:solidFill>
                    <a:effectLst/>
                    <a:uLnTx/>
                    <a:uFillTx/>
                    <a:latin typeface="Arial" panose="020B0604020202020204" pitchFamily="34" charset="0"/>
                    <a:ea typeface="Times New Roman" panose="02020603050405020304" pitchFamily="18" charset="0"/>
                    <a:cs typeface="Times New Roman" panose="02020603050405020304" pitchFamily="18" charset="0"/>
                    <a:sym typeface="Helvetica Neue"/>
                  </a:rPr>
                  <a:t>CLOUD PAKS IN DEPLOYMENT FOCUS </a:t>
                </a:r>
              </a:p>
            </p:txBody>
          </p:sp>
        </p:grpSp>
      </p:grpSp>
      <p:sp>
        <p:nvSpPr>
          <p:cNvPr id="22" name="Star">
            <a:extLst>
              <a:ext uri="{FF2B5EF4-FFF2-40B4-BE49-F238E27FC236}">
                <a16:creationId xmlns:a16="http://schemas.microsoft.com/office/drawing/2014/main" id="{D8913E42-E26C-D206-8A38-60D527D997D9}"/>
              </a:ext>
            </a:extLst>
          </p:cNvPr>
          <p:cNvSpPr/>
          <p:nvPr/>
        </p:nvSpPr>
        <p:spPr>
          <a:xfrm>
            <a:off x="7366930" y="927490"/>
            <a:ext cx="7601625" cy="183988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1- What do we know about customers?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Validate with customers our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understanding</a:t>
            </a:r>
          </a:p>
        </p:txBody>
      </p:sp>
      <p:sp>
        <p:nvSpPr>
          <p:cNvPr id="23" name="Star">
            <a:extLst>
              <a:ext uri="{FF2B5EF4-FFF2-40B4-BE49-F238E27FC236}">
                <a16:creationId xmlns:a16="http://schemas.microsoft.com/office/drawing/2014/main" id="{49A685EC-27DB-4565-FC54-526E59A2FEFA}"/>
              </a:ext>
            </a:extLst>
          </p:cNvPr>
          <p:cNvSpPr/>
          <p:nvPr/>
        </p:nvSpPr>
        <p:spPr>
          <a:xfrm>
            <a:off x="13305990" y="9212484"/>
            <a:ext cx="5338000" cy="152228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4-Visibiity on </a:t>
            </a:r>
            <a:r>
              <a:rPr kumimoji="0" lang="en-AU" sz="2000" b="0" i="0" u="none" strike="noStrike" kern="0" cap="none" spc="0" normalizeH="0" baseline="0" noProof="0" dirty="0" err="1">
                <a:ln>
                  <a:noFill/>
                </a:ln>
                <a:solidFill>
                  <a:srgbClr val="FFFFFF"/>
                </a:solidFill>
                <a:effectLst/>
                <a:uLnTx/>
                <a:uFillTx/>
                <a:latin typeface="Helvetica Neue Medium"/>
                <a:ea typeface="Helvetica Neue Medium"/>
                <a:cs typeface="Helvetica Neue Medium"/>
                <a:sym typeface="Helvetica Neue Medium"/>
              </a:rPr>
              <a:t>EoS</a:t>
            </a: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 Products</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in focus for your customer</a:t>
            </a: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 </a:t>
            </a:r>
          </a:p>
        </p:txBody>
      </p:sp>
      <p:sp>
        <p:nvSpPr>
          <p:cNvPr id="30" name="Star">
            <a:extLst>
              <a:ext uri="{FF2B5EF4-FFF2-40B4-BE49-F238E27FC236}">
                <a16:creationId xmlns:a16="http://schemas.microsoft.com/office/drawing/2014/main" id="{DCA03806-5403-9390-7BB7-1A2C32FDB84E}"/>
              </a:ext>
            </a:extLst>
          </p:cNvPr>
          <p:cNvSpPr/>
          <p:nvPr/>
        </p:nvSpPr>
        <p:spPr>
          <a:xfrm>
            <a:off x="12192000" y="4916859"/>
            <a:ext cx="4597290" cy="148190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3-Entitlements:</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 what’s in the box for them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 ready to </a:t>
            </a:r>
            <a:r>
              <a:rPr lang="en-AU" sz="2000" dirty="0">
                <a:solidFill>
                  <a:srgbClr val="FFFFFF"/>
                </a:solidFill>
                <a:latin typeface="Helvetica Neue Medium"/>
                <a:ea typeface="Helvetica Neue Medium"/>
                <a:cs typeface="Helvetica Neue Medium"/>
                <a:sym typeface="Helvetica Neue Medium"/>
              </a:rPr>
              <a:t>consume</a:t>
            </a: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 ?</a:t>
            </a:r>
          </a:p>
        </p:txBody>
      </p:sp>
      <p:sp>
        <p:nvSpPr>
          <p:cNvPr id="33" name="Star">
            <a:extLst>
              <a:ext uri="{FF2B5EF4-FFF2-40B4-BE49-F238E27FC236}">
                <a16:creationId xmlns:a16="http://schemas.microsoft.com/office/drawing/2014/main" id="{925D792D-9496-1A87-B47B-C46C5ADF42E2}"/>
              </a:ext>
            </a:extLst>
          </p:cNvPr>
          <p:cNvSpPr/>
          <p:nvPr/>
        </p:nvSpPr>
        <p:spPr>
          <a:xfrm>
            <a:off x="532112" y="9270805"/>
            <a:ext cx="11003045" cy="140564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2- Know customer pains,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understand current issues/ cases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Cloud Packs related ,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Escalations</a:t>
            </a:r>
            <a:endPar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pic>
        <p:nvPicPr>
          <p:cNvPr id="7" name="Picture 6" descr="Table&#10;&#10;Description automatically generated">
            <a:extLst>
              <a:ext uri="{FF2B5EF4-FFF2-40B4-BE49-F238E27FC236}">
                <a16:creationId xmlns:a16="http://schemas.microsoft.com/office/drawing/2014/main" id="{32DE371B-F975-787A-2593-932F083AE0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163870" y="6639763"/>
            <a:ext cx="10149612" cy="1511300"/>
          </a:xfrm>
          <a:prstGeom prst="rect">
            <a:avLst/>
          </a:prstGeom>
        </p:spPr>
      </p:pic>
      <p:sp>
        <p:nvSpPr>
          <p:cNvPr id="31" name="Straight Connector 81">
            <a:extLst>
              <a:ext uri="{FF2B5EF4-FFF2-40B4-BE49-F238E27FC236}">
                <a16:creationId xmlns:a16="http://schemas.microsoft.com/office/drawing/2014/main" id="{35A7440B-17D2-995D-1901-5EC2C6ED2D4B}"/>
              </a:ext>
            </a:extLst>
          </p:cNvPr>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4" name="Straight Connector 82">
            <a:extLst>
              <a:ext uri="{FF2B5EF4-FFF2-40B4-BE49-F238E27FC236}">
                <a16:creationId xmlns:a16="http://schemas.microsoft.com/office/drawing/2014/main" id="{022E05A9-A861-394A-66D4-F1C9DAE4E429}"/>
              </a:ext>
            </a:extLst>
          </p:cNvPr>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5" name="Straight Connector 83">
            <a:extLst>
              <a:ext uri="{FF2B5EF4-FFF2-40B4-BE49-F238E27FC236}">
                <a16:creationId xmlns:a16="http://schemas.microsoft.com/office/drawing/2014/main" id="{6D65EFDD-1693-9004-31C2-70875E0DA1D4}"/>
              </a:ext>
            </a:extLst>
          </p:cNvPr>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6" name="Straight Connector 84">
            <a:extLst>
              <a:ext uri="{FF2B5EF4-FFF2-40B4-BE49-F238E27FC236}">
                <a16:creationId xmlns:a16="http://schemas.microsoft.com/office/drawing/2014/main" id="{FE48767C-3AA8-8F5C-F09A-C0B6C59DECFD}"/>
              </a:ext>
            </a:extLst>
          </p:cNvPr>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7" name="Straight Connector 80">
            <a:extLst>
              <a:ext uri="{FF2B5EF4-FFF2-40B4-BE49-F238E27FC236}">
                <a16:creationId xmlns:a16="http://schemas.microsoft.com/office/drawing/2014/main" id="{4AFAD54E-CD2A-064F-DDA9-BE70CD377691}"/>
              </a:ext>
            </a:extLst>
          </p:cNvPr>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38" name="CSMLogo_Final-04.jpg" descr="CSMLogo_Final-04.jpg">
            <a:extLst>
              <a:ext uri="{FF2B5EF4-FFF2-40B4-BE49-F238E27FC236}">
                <a16:creationId xmlns:a16="http://schemas.microsoft.com/office/drawing/2014/main" id="{BFFE3692-2CCB-3B3B-66B2-85462F671855}"/>
              </a:ext>
            </a:extLst>
          </p:cNvPr>
          <p:cNvPicPr>
            <a:picLocks noChangeAspect="1"/>
          </p:cNvPicPr>
          <p:nvPr/>
        </p:nvPicPr>
        <p:blipFill>
          <a:blip r:embed="rId7"/>
          <a:srcRect r="71135"/>
          <a:stretch>
            <a:fillRect/>
          </a:stretch>
        </p:blipFill>
        <p:spPr>
          <a:xfrm>
            <a:off x="532112" y="12986056"/>
            <a:ext cx="669349" cy="685938"/>
          </a:xfrm>
          <a:prstGeom prst="rect">
            <a:avLst/>
          </a:prstGeom>
          <a:ln w="12700">
            <a:miter lim="400000"/>
          </a:ln>
        </p:spPr>
      </p:pic>
      <p:sp>
        <p:nvSpPr>
          <p:cNvPr id="39" name="IBM Customer Success / © 2021 IBM Corporation">
            <a:extLst>
              <a:ext uri="{FF2B5EF4-FFF2-40B4-BE49-F238E27FC236}">
                <a16:creationId xmlns:a16="http://schemas.microsoft.com/office/drawing/2014/main" id="{EE1B9972-D990-EC31-F7AA-60CC90B6AB3A}"/>
              </a:ext>
            </a:extLst>
          </p:cNvPr>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pic>
        <p:nvPicPr>
          <p:cNvPr id="41" name="Picture 40">
            <a:extLst>
              <a:ext uri="{FF2B5EF4-FFF2-40B4-BE49-F238E27FC236}">
                <a16:creationId xmlns:a16="http://schemas.microsoft.com/office/drawing/2014/main" id="{F810C004-1B46-EFAE-0727-11E851426767}"/>
              </a:ext>
            </a:extLst>
          </p:cNvPr>
          <p:cNvPicPr>
            <a:picLocks noChangeAspect="1"/>
          </p:cNvPicPr>
          <p:nvPr/>
        </p:nvPicPr>
        <p:blipFill>
          <a:blip r:embed="rId8"/>
          <a:stretch>
            <a:fillRect/>
          </a:stretch>
        </p:blipFill>
        <p:spPr>
          <a:xfrm>
            <a:off x="19211457" y="164108"/>
            <a:ext cx="1460259" cy="1096701"/>
          </a:xfrm>
          <a:prstGeom prst="rect">
            <a:avLst/>
          </a:prstGeom>
        </p:spPr>
      </p:pic>
      <p:sp>
        <p:nvSpPr>
          <p:cNvPr id="44" name="Process 43">
            <a:extLst>
              <a:ext uri="{FF2B5EF4-FFF2-40B4-BE49-F238E27FC236}">
                <a16:creationId xmlns:a16="http://schemas.microsoft.com/office/drawing/2014/main" id="{2A12AF9A-F661-0818-9F85-166035B03DD3}"/>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3063645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2">
            <a:extLst>
              <a:ext uri="{FF2B5EF4-FFF2-40B4-BE49-F238E27FC236}">
                <a16:creationId xmlns:a16="http://schemas.microsoft.com/office/drawing/2014/main" id="{AB5FF948-2AF3-4386-89EB-1441886D5BAB}"/>
              </a:ext>
            </a:extLst>
          </p:cNvPr>
          <p:cNvGraphicFramePr>
            <a:graphicFrameLocks noGrp="1"/>
          </p:cNvGraphicFramePr>
          <p:nvPr>
            <p:extLst>
              <p:ext uri="{D42A27DB-BD31-4B8C-83A1-F6EECF244321}">
                <p14:modId xmlns:p14="http://schemas.microsoft.com/office/powerpoint/2010/main" val="387108048"/>
              </p:ext>
            </p:extLst>
          </p:nvPr>
        </p:nvGraphicFramePr>
        <p:xfrm>
          <a:off x="185097" y="1989192"/>
          <a:ext cx="24013806" cy="5265192"/>
        </p:xfrm>
        <a:graphic>
          <a:graphicData uri="http://schemas.openxmlformats.org/drawingml/2006/table">
            <a:tbl>
              <a:tblPr firstRow="1" bandRow="1">
                <a:tableStyleId>{72833802-FEF1-4C79-8D5D-14CF1EAF98D9}</a:tableStyleId>
              </a:tblPr>
              <a:tblGrid>
                <a:gridCol w="409012">
                  <a:extLst>
                    <a:ext uri="{9D8B030D-6E8A-4147-A177-3AD203B41FA5}">
                      <a16:colId xmlns:a16="http://schemas.microsoft.com/office/drawing/2014/main" val="3687184174"/>
                    </a:ext>
                  </a:extLst>
                </a:gridCol>
                <a:gridCol w="2998177">
                  <a:extLst>
                    <a:ext uri="{9D8B030D-6E8A-4147-A177-3AD203B41FA5}">
                      <a16:colId xmlns:a16="http://schemas.microsoft.com/office/drawing/2014/main" val="2499940331"/>
                    </a:ext>
                  </a:extLst>
                </a:gridCol>
                <a:gridCol w="4380139">
                  <a:extLst>
                    <a:ext uri="{9D8B030D-6E8A-4147-A177-3AD203B41FA5}">
                      <a16:colId xmlns:a16="http://schemas.microsoft.com/office/drawing/2014/main" val="2070496093"/>
                    </a:ext>
                  </a:extLst>
                </a:gridCol>
                <a:gridCol w="1476375">
                  <a:extLst>
                    <a:ext uri="{9D8B030D-6E8A-4147-A177-3AD203B41FA5}">
                      <a16:colId xmlns:a16="http://schemas.microsoft.com/office/drawing/2014/main" val="2336347590"/>
                    </a:ext>
                  </a:extLst>
                </a:gridCol>
                <a:gridCol w="3924300">
                  <a:extLst>
                    <a:ext uri="{9D8B030D-6E8A-4147-A177-3AD203B41FA5}">
                      <a16:colId xmlns:a16="http://schemas.microsoft.com/office/drawing/2014/main" val="3681290578"/>
                    </a:ext>
                  </a:extLst>
                </a:gridCol>
                <a:gridCol w="2971800">
                  <a:extLst>
                    <a:ext uri="{9D8B030D-6E8A-4147-A177-3AD203B41FA5}">
                      <a16:colId xmlns:a16="http://schemas.microsoft.com/office/drawing/2014/main" val="561755669"/>
                    </a:ext>
                  </a:extLst>
                </a:gridCol>
                <a:gridCol w="7854003">
                  <a:extLst>
                    <a:ext uri="{9D8B030D-6E8A-4147-A177-3AD203B41FA5}">
                      <a16:colId xmlns:a16="http://schemas.microsoft.com/office/drawing/2014/main" val="851084702"/>
                    </a:ext>
                  </a:extLst>
                </a:gridCol>
              </a:tblGrid>
              <a:tr h="0">
                <a:tc gridSpan="2">
                  <a:txBody>
                    <a:bodyPr/>
                    <a:lstStyle/>
                    <a:p>
                      <a:pPr lvl="0" algn="l">
                        <a:buNone/>
                      </a:pPr>
                      <a:r>
                        <a:rPr lang="en-US" sz="3600" b="1" dirty="0">
                          <a:solidFill>
                            <a:schemeClr val="bg1"/>
                          </a:solidFill>
                          <a:latin typeface="+mn-lt"/>
                        </a:rPr>
                        <a:t>Initiatives</a:t>
                      </a:r>
                    </a:p>
                  </a:txBody>
                  <a:tcPr marL="182880" marR="182880" marT="91440" marB="91440" anchor="ctr">
                    <a:solidFill>
                      <a:srgbClr val="0F62FE"/>
                    </a:solidFill>
                  </a:tcPr>
                </a:tc>
                <a:tc hMerge="1">
                  <a:txBody>
                    <a:bodyPr/>
                    <a:lstStyle/>
                    <a:p>
                      <a:pPr lvl="0" algn="l">
                        <a:buNone/>
                      </a:pPr>
                      <a:endParaRPr lang="en-US" sz="1200" b="1" dirty="0">
                        <a:solidFill>
                          <a:schemeClr val="bg1"/>
                        </a:solidFill>
                        <a:latin typeface="IBM Plex Sans" panose="020B0503050203000203" pitchFamily="34" charset="0"/>
                      </a:endParaRPr>
                    </a:p>
                  </a:txBody>
                  <a:tcPr anchor="ctr">
                    <a:solidFill>
                      <a:schemeClr val="accent2"/>
                    </a:solidFill>
                  </a:tcPr>
                </a:tc>
                <a:tc>
                  <a:txBody>
                    <a:bodyPr/>
                    <a:lstStyle/>
                    <a:p>
                      <a:pPr lvl="0" algn="l">
                        <a:buNone/>
                      </a:pPr>
                      <a:r>
                        <a:rPr lang="en-US" sz="3600" b="1" dirty="0">
                          <a:solidFill>
                            <a:schemeClr val="bg1"/>
                          </a:solidFill>
                          <a:latin typeface="+mn-lt"/>
                        </a:rPr>
                        <a:t>Tactics </a:t>
                      </a:r>
                    </a:p>
                    <a:p>
                      <a:pPr lvl="0" algn="l">
                        <a:buNone/>
                      </a:pPr>
                      <a:r>
                        <a:rPr lang="en-US" sz="2800" b="1" dirty="0">
                          <a:solidFill>
                            <a:schemeClr val="bg1"/>
                          </a:solidFill>
                          <a:latin typeface="+mn-lt"/>
                        </a:rPr>
                        <a:t>Actions steps</a:t>
                      </a:r>
                    </a:p>
                  </a:txBody>
                  <a:tcPr marL="182880" marR="182880" marT="91440" marB="91440" anchor="ctr">
                    <a:solidFill>
                      <a:srgbClr val="0F62FE"/>
                    </a:solidFill>
                  </a:tcPr>
                </a:tc>
                <a:tc>
                  <a:txBody>
                    <a:bodyPr/>
                    <a:lstStyle/>
                    <a:p>
                      <a:pPr lvl="0" algn="l">
                        <a:buNone/>
                      </a:pPr>
                      <a:r>
                        <a:rPr lang="en-US" sz="3600" b="1" dirty="0" err="1">
                          <a:solidFill>
                            <a:schemeClr val="bg1"/>
                          </a:solidFill>
                          <a:latin typeface="+mn-lt"/>
                        </a:rPr>
                        <a:t>Prio</a:t>
                      </a:r>
                      <a:endParaRPr lang="en-US" sz="3600" b="1" dirty="0">
                        <a:solidFill>
                          <a:schemeClr val="bg1"/>
                        </a:solidFill>
                        <a:latin typeface="+mn-lt"/>
                      </a:endParaRPr>
                    </a:p>
                  </a:txBody>
                  <a:tcPr marL="182880" marR="182880" marT="91440" marB="91440" anchor="ctr">
                    <a:solidFill>
                      <a:srgbClr val="0F62FE"/>
                    </a:solidFill>
                  </a:tcPr>
                </a:tc>
                <a:tc>
                  <a:txBody>
                    <a:bodyPr/>
                    <a:lstStyle/>
                    <a:p>
                      <a:pPr lvl="0" algn="l">
                        <a:buNone/>
                      </a:pPr>
                      <a:r>
                        <a:rPr lang="en-US" sz="3600" b="1" dirty="0">
                          <a:solidFill>
                            <a:schemeClr val="bg1"/>
                          </a:solidFill>
                          <a:latin typeface="+mn-lt"/>
                        </a:rPr>
                        <a:t>Business Impact</a:t>
                      </a:r>
                    </a:p>
                    <a:p>
                      <a:pPr lvl="0" algn="l">
                        <a:buNone/>
                      </a:pPr>
                      <a:r>
                        <a:rPr lang="en-US" sz="2800" b="1" i="1" dirty="0">
                          <a:solidFill>
                            <a:schemeClr val="bg1"/>
                          </a:solidFill>
                          <a:latin typeface="+mn-lt"/>
                        </a:rPr>
                        <a:t>Expected Outcomes</a:t>
                      </a:r>
                    </a:p>
                  </a:txBody>
                  <a:tcPr marL="182880" marR="182880" marT="91440" marB="91440" anchor="ctr">
                    <a:solidFill>
                      <a:srgbClr val="0F62FE"/>
                    </a:solidFill>
                  </a:tcPr>
                </a:tc>
                <a:tc>
                  <a:txBody>
                    <a:bodyPr/>
                    <a:lstStyle/>
                    <a:p>
                      <a:pPr lvl="0" algn="l">
                        <a:buNone/>
                      </a:pPr>
                      <a:endParaRPr lang="en-US" sz="3600" b="1" dirty="0">
                        <a:solidFill>
                          <a:schemeClr val="bg1"/>
                        </a:solidFill>
                        <a:latin typeface="+mn-lt"/>
                      </a:endParaRPr>
                    </a:p>
                    <a:p>
                      <a:pPr lvl="0" algn="l">
                        <a:buNone/>
                      </a:pPr>
                      <a:r>
                        <a:rPr lang="en-US" sz="3600" b="1" dirty="0">
                          <a:solidFill>
                            <a:schemeClr val="bg1"/>
                          </a:solidFill>
                          <a:latin typeface="+mn-lt"/>
                        </a:rPr>
                        <a:t>IBM Enablers </a:t>
                      </a:r>
                    </a:p>
                    <a:p>
                      <a:pPr lvl="0" algn="l">
                        <a:buNone/>
                      </a:pPr>
                      <a:r>
                        <a:rPr lang="en-US" sz="2800" b="1" i="1" dirty="0">
                          <a:solidFill>
                            <a:schemeClr val="bg1"/>
                          </a:solidFill>
                          <a:latin typeface="+mn-lt"/>
                        </a:rPr>
                        <a:t>Cloud </a:t>
                      </a:r>
                      <a:r>
                        <a:rPr lang="en-US" sz="2800" b="1" i="1" dirty="0" err="1">
                          <a:solidFill>
                            <a:schemeClr val="bg1"/>
                          </a:solidFill>
                          <a:latin typeface="+mn-lt"/>
                        </a:rPr>
                        <a:t>Paks</a:t>
                      </a:r>
                      <a:endParaRPr lang="en-US" sz="2800" b="1" i="1" dirty="0">
                        <a:solidFill>
                          <a:schemeClr val="bg1"/>
                        </a:solidFill>
                        <a:latin typeface="+mn-lt"/>
                      </a:endParaRPr>
                    </a:p>
                    <a:p>
                      <a:pPr lvl="0" algn="l">
                        <a:buNone/>
                      </a:pPr>
                      <a:endParaRPr lang="en-US" sz="3600" b="1" dirty="0">
                        <a:solidFill>
                          <a:schemeClr val="bg1"/>
                        </a:solidFill>
                        <a:latin typeface="+mn-lt"/>
                      </a:endParaRPr>
                    </a:p>
                  </a:txBody>
                  <a:tcPr marL="182880" marR="182880" marT="91440" marB="91440" anchor="ctr">
                    <a:solidFill>
                      <a:srgbClr val="0F62FE"/>
                    </a:solidFill>
                  </a:tcPr>
                </a:tc>
                <a:tc>
                  <a:txBody>
                    <a:bodyPr/>
                    <a:lstStyle/>
                    <a:p>
                      <a:pPr lvl="0" algn="l">
                        <a:buNone/>
                      </a:pPr>
                      <a:r>
                        <a:rPr lang="en-US" sz="3600" b="1" dirty="0">
                          <a:solidFill>
                            <a:schemeClr val="bg1"/>
                          </a:solidFill>
                          <a:latin typeface="+mn-lt"/>
                        </a:rPr>
                        <a:t>Outlook / Status</a:t>
                      </a:r>
                      <a:endParaRPr lang="en-US" sz="3600" b="1" i="1" dirty="0">
                        <a:solidFill>
                          <a:schemeClr val="bg1"/>
                        </a:solidFill>
                        <a:latin typeface="+mn-lt"/>
                      </a:endParaRPr>
                    </a:p>
                  </a:txBody>
                  <a:tcPr marL="182880" marR="182880" marT="91440" marB="91440" anchor="ctr">
                    <a:solidFill>
                      <a:srgbClr val="0F62FE"/>
                    </a:solidFill>
                  </a:tcPr>
                </a:tc>
                <a:extLst>
                  <a:ext uri="{0D108BD9-81ED-4DB2-BD59-A6C34878D82A}">
                    <a16:rowId xmlns:a16="http://schemas.microsoft.com/office/drawing/2014/main" val="3101948352"/>
                  </a:ext>
                </a:extLst>
              </a:tr>
              <a:tr h="1743712">
                <a:tc>
                  <a:txBody>
                    <a:bodyPr/>
                    <a:lstStyle/>
                    <a:p>
                      <a:r>
                        <a:rPr lang="en-US" sz="2200" dirty="0"/>
                        <a:t>1</a:t>
                      </a:r>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400" b="0" dirty="0">
                        <a:solidFill>
                          <a:schemeClr val="tx1"/>
                        </a:solidFill>
                        <a:latin typeface="+mn-lt"/>
                      </a:endParaRPr>
                    </a:p>
                  </a:txBody>
                  <a:tcPr marL="182880" marR="182880" marT="91440" marB="91440">
                    <a:solidFill>
                      <a:schemeClr val="bg1"/>
                    </a:solidFill>
                  </a:tcPr>
                </a:tc>
                <a:tc>
                  <a:txBody>
                    <a:bodyPr/>
                    <a:lstStyle/>
                    <a:p>
                      <a:endParaRPr lang="en-US" sz="2400" dirty="0">
                        <a:latin typeface="+mn-lt"/>
                      </a:endParaRPr>
                    </a:p>
                  </a:txBody>
                  <a:tcPr marL="182880" marR="182880" marT="91440" marB="91440">
                    <a:solidFill>
                      <a:schemeClr val="bg1">
                        <a:lumMod val="95000"/>
                      </a:schemeClr>
                    </a:solidFill>
                  </a:tcPr>
                </a:tc>
                <a:tc>
                  <a:txBody>
                    <a:bodyPr/>
                    <a:lstStyle/>
                    <a:p>
                      <a:endParaRPr lang="en-US" sz="2400" dirty="0">
                        <a:latin typeface="+mn-lt"/>
                      </a:endParaRPr>
                    </a:p>
                  </a:txBody>
                  <a:tcPr marL="182880" marR="182880" marT="91440" marB="91440">
                    <a:solidFill>
                      <a:schemeClr val="bg1">
                        <a:lumMod val="95000"/>
                      </a:schemeClr>
                    </a:solidFill>
                  </a:tcPr>
                </a:tc>
                <a:tc>
                  <a:txBody>
                    <a:bodyPr/>
                    <a:lstStyle/>
                    <a:p>
                      <a:endParaRPr lang="en-US" sz="2400" dirty="0">
                        <a:latin typeface="+mn-lt"/>
                      </a:endParaRPr>
                    </a:p>
                  </a:txBody>
                  <a:tcPr marL="182880" marR="182880" marT="91440" marB="91440">
                    <a:solidFill>
                      <a:schemeClr val="bg1">
                        <a:lumMod val="95000"/>
                      </a:schemeClr>
                    </a:solidFill>
                  </a:tcPr>
                </a:tc>
                <a:tc>
                  <a:txBody>
                    <a:bodyPr/>
                    <a:lstStyle/>
                    <a:p>
                      <a:endParaRPr lang="en-US" sz="2400" dirty="0">
                        <a:latin typeface="+mn-lt"/>
                      </a:endParaRPr>
                    </a:p>
                  </a:txBody>
                  <a:tcPr marL="182880" marR="182880" marT="91440" marB="91440">
                    <a:solidFill>
                      <a:schemeClr val="bg1">
                        <a:lumMod val="95000"/>
                      </a:schemeClr>
                    </a:solidFill>
                  </a:tcPr>
                </a:tc>
                <a:tc>
                  <a:txBody>
                    <a:bodyPr/>
                    <a:lstStyle/>
                    <a:p>
                      <a:pPr marL="0" indent="0">
                        <a:buFontTx/>
                        <a:buNone/>
                      </a:pPr>
                      <a:endParaRPr lang="en-US" sz="2400" i="1" dirty="0">
                        <a:latin typeface="+mn-lt"/>
                      </a:endParaRPr>
                    </a:p>
                  </a:txBody>
                  <a:tcPr marL="182880" marR="182880" marT="91440" marB="91440">
                    <a:solidFill>
                      <a:schemeClr val="bg1">
                        <a:lumMod val="95000"/>
                      </a:schemeClr>
                    </a:solidFill>
                  </a:tcPr>
                </a:tc>
                <a:extLst>
                  <a:ext uri="{0D108BD9-81ED-4DB2-BD59-A6C34878D82A}">
                    <a16:rowId xmlns:a16="http://schemas.microsoft.com/office/drawing/2014/main" val="4212223845"/>
                  </a:ext>
                </a:extLst>
              </a:tr>
              <a:tr h="1265960">
                <a:tc>
                  <a:txBody>
                    <a:bodyPr/>
                    <a:lstStyle/>
                    <a:p>
                      <a:r>
                        <a:rPr lang="en-US" sz="2400" dirty="0"/>
                        <a:t>2</a:t>
                      </a:r>
                      <a:endParaRPr lang="en-US" sz="2400" dirty="0">
                        <a:latin typeface="IBM Plex Sans" panose="020B0503050203000203" pitchFamily="34" charset="0"/>
                      </a:endParaRPr>
                    </a:p>
                  </a:txBody>
                  <a:tcPr marL="182880" marR="182880" marT="91440" marB="91440">
                    <a:solidFill>
                      <a:schemeClr val="bg1"/>
                    </a:solidFill>
                  </a:tcPr>
                </a:tc>
                <a:tc>
                  <a:txBody>
                    <a:bodyPr/>
                    <a:lstStyle/>
                    <a:p>
                      <a:endParaRPr lang="en-US" sz="2400" b="0" dirty="0">
                        <a:solidFill>
                          <a:schemeClr val="tx1"/>
                        </a:solidFill>
                        <a:latin typeface="+mn-lt"/>
                      </a:endParaRPr>
                    </a:p>
                  </a:txBody>
                  <a:tcPr marL="182880" marR="182880" marT="91440" marB="91440">
                    <a:solidFill>
                      <a:schemeClr val="bg1"/>
                    </a:solidFill>
                  </a:tcPr>
                </a:tc>
                <a:tc>
                  <a:txBody>
                    <a:bodyPr/>
                    <a:lstStyle/>
                    <a:p>
                      <a:endParaRPr lang="en-US" sz="2400" dirty="0">
                        <a:latin typeface="+mn-lt"/>
                      </a:endParaRPr>
                    </a:p>
                  </a:txBody>
                  <a:tcPr marL="182880" marR="182880" marT="91440" marB="91440">
                    <a:solidFill>
                      <a:schemeClr val="bg1">
                        <a:lumMod val="95000"/>
                      </a:schemeClr>
                    </a:solidFill>
                  </a:tcPr>
                </a:tc>
                <a:tc>
                  <a:txBody>
                    <a:bodyPr/>
                    <a:lstStyle/>
                    <a:p>
                      <a:endParaRPr lang="en-US" sz="2400" dirty="0">
                        <a:latin typeface="+mn-lt"/>
                      </a:endParaRPr>
                    </a:p>
                  </a:txBody>
                  <a:tcPr marL="182880" marR="182880" marT="91440" marB="91440">
                    <a:solidFill>
                      <a:schemeClr val="bg1">
                        <a:lumMod val="95000"/>
                      </a:schemeClr>
                    </a:solidFill>
                  </a:tcPr>
                </a:tc>
                <a:tc>
                  <a:txBody>
                    <a:bodyPr/>
                    <a:lstStyle/>
                    <a:p>
                      <a:endParaRPr lang="en-US" sz="2400" dirty="0">
                        <a:latin typeface="+mn-lt"/>
                      </a:endParaRPr>
                    </a:p>
                  </a:txBody>
                  <a:tcPr marL="182880" marR="182880" marT="91440" marB="91440"/>
                </a:tc>
                <a:tc>
                  <a:txBody>
                    <a:bodyPr/>
                    <a:lstStyle/>
                    <a:p>
                      <a:endParaRPr lang="en-US" sz="2400" dirty="0">
                        <a:latin typeface="+mn-lt"/>
                      </a:endParaRPr>
                    </a:p>
                  </a:txBody>
                  <a:tcPr marL="182880" marR="182880" marT="91440" marB="91440">
                    <a:solidFill>
                      <a:schemeClr val="bg1">
                        <a:lumMod val="95000"/>
                      </a:schemeClr>
                    </a:solidFill>
                  </a:tcPr>
                </a:tc>
                <a:tc>
                  <a:txBody>
                    <a:bodyPr/>
                    <a:lstStyle/>
                    <a:p>
                      <a:pPr marL="0" indent="0">
                        <a:buFontTx/>
                        <a:buNone/>
                      </a:pPr>
                      <a:endParaRPr lang="en-US" sz="2400" i="1" dirty="0">
                        <a:latin typeface="+mn-lt"/>
                      </a:endParaRPr>
                    </a:p>
                  </a:txBody>
                  <a:tcPr marL="182880" marR="182880" marT="91440" marB="91440">
                    <a:solidFill>
                      <a:schemeClr val="bg1">
                        <a:lumMod val="95000"/>
                      </a:schemeClr>
                    </a:solidFill>
                  </a:tcPr>
                </a:tc>
                <a:extLst>
                  <a:ext uri="{0D108BD9-81ED-4DB2-BD59-A6C34878D82A}">
                    <a16:rowId xmlns:a16="http://schemas.microsoft.com/office/drawing/2014/main" val="2395645528"/>
                  </a:ext>
                </a:extLst>
              </a:tr>
            </a:tbl>
          </a:graphicData>
        </a:graphic>
      </p:graphicFrame>
      <p:sp>
        <p:nvSpPr>
          <p:cNvPr id="7" name="Title 6">
            <a:extLst>
              <a:ext uri="{FF2B5EF4-FFF2-40B4-BE49-F238E27FC236}">
                <a16:creationId xmlns:a16="http://schemas.microsoft.com/office/drawing/2014/main" id="{13C2E987-FE45-454B-9A2C-FA65354A4D36}"/>
              </a:ext>
            </a:extLst>
          </p:cNvPr>
          <p:cNvSpPr>
            <a:spLocks noGrp="1"/>
          </p:cNvSpPr>
          <p:nvPr>
            <p:ph type="title"/>
          </p:nvPr>
        </p:nvSpPr>
        <p:spPr>
          <a:xfrm>
            <a:off x="217084" y="392963"/>
            <a:ext cx="21728516" cy="1093710"/>
          </a:xfrm>
        </p:spPr>
        <p:txBody>
          <a:bodyPr/>
          <a:lstStyle/>
          <a:p>
            <a:r>
              <a:rPr lang="en-AU" dirty="0"/>
              <a:t>Current Initiatives &amp; Goals YY++</a:t>
            </a:r>
          </a:p>
        </p:txBody>
      </p:sp>
      <p:cxnSp>
        <p:nvCxnSpPr>
          <p:cNvPr id="8" name="Straight Arrow Connector 7">
            <a:extLst>
              <a:ext uri="{FF2B5EF4-FFF2-40B4-BE49-F238E27FC236}">
                <a16:creationId xmlns:a16="http://schemas.microsoft.com/office/drawing/2014/main" id="{3B13BCE3-1763-F944-AE43-D86DA7868064}"/>
              </a:ext>
            </a:extLst>
          </p:cNvPr>
          <p:cNvCxnSpPr>
            <a:cxnSpLocks/>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sp>
        <p:nvSpPr>
          <p:cNvPr id="9" name="Star">
            <a:extLst>
              <a:ext uri="{FF2B5EF4-FFF2-40B4-BE49-F238E27FC236}">
                <a16:creationId xmlns:a16="http://schemas.microsoft.com/office/drawing/2014/main" id="{EF23008E-A812-7794-AC3D-2E86226DE43E}"/>
              </a:ext>
            </a:extLst>
          </p:cNvPr>
          <p:cNvSpPr/>
          <p:nvPr/>
        </p:nvSpPr>
        <p:spPr>
          <a:xfrm rot="20898906">
            <a:off x="18595316" y="6169390"/>
            <a:ext cx="5521497" cy="561987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u="sng" dirty="0">
                <a:solidFill>
                  <a:srgbClr val="FFFFFF"/>
                </a:solidFill>
                <a:latin typeface="Helvetica Neue Medium"/>
                <a:ea typeface="Helvetica Neue Medium"/>
                <a:cs typeface="Helvetica Neue Medium"/>
                <a:sym typeface="Helvetica Neue Medium"/>
              </a:rPr>
              <a:t>NOTE</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u="sng" dirty="0">
                <a:solidFill>
                  <a:srgbClr val="FFFFFF"/>
                </a:solidFill>
                <a:latin typeface="Helvetica Neue Medium"/>
                <a:ea typeface="Helvetica Neue Medium"/>
                <a:cs typeface="Helvetica Neue Medium"/>
                <a:sym typeface="Helvetica Neue Medium"/>
              </a:rPr>
              <a:t>BUSINESS LED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ALIGNMENT ON IMPACT OF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CSM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ENGAGEMENT ACTIVITIES</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Based o</a:t>
            </a:r>
            <a:r>
              <a:rPr lang="en-AU" sz="2000" dirty="0">
                <a:solidFill>
                  <a:srgbClr val="FFFFFF"/>
                </a:solidFill>
                <a:latin typeface="Helvetica Neue Medium"/>
                <a:ea typeface="Helvetica Neue Medium"/>
                <a:cs typeface="Helvetica Neue Medium"/>
                <a:sym typeface="Helvetica Neue Medium"/>
              </a:rPr>
              <a:t>n account planning info</a:t>
            </a:r>
            <a:endPar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0" name="Straight Connector 81">
            <a:extLst>
              <a:ext uri="{FF2B5EF4-FFF2-40B4-BE49-F238E27FC236}">
                <a16:creationId xmlns:a16="http://schemas.microsoft.com/office/drawing/2014/main" id="{70090605-E8E6-708D-31A5-10C6B8F3DBA4}"/>
              </a:ext>
            </a:extLst>
          </p:cNvPr>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1" name="Straight Connector 82">
            <a:extLst>
              <a:ext uri="{FF2B5EF4-FFF2-40B4-BE49-F238E27FC236}">
                <a16:creationId xmlns:a16="http://schemas.microsoft.com/office/drawing/2014/main" id="{7146897B-06EE-F9EC-D13D-B0D7E2065989}"/>
              </a:ext>
            </a:extLst>
          </p:cNvPr>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 name="Straight Connector 83">
            <a:extLst>
              <a:ext uri="{FF2B5EF4-FFF2-40B4-BE49-F238E27FC236}">
                <a16:creationId xmlns:a16="http://schemas.microsoft.com/office/drawing/2014/main" id="{B428C6D1-63EB-C355-C811-E21EBE3E9F09}"/>
              </a:ext>
            </a:extLst>
          </p:cNvPr>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 name="Straight Connector 84">
            <a:extLst>
              <a:ext uri="{FF2B5EF4-FFF2-40B4-BE49-F238E27FC236}">
                <a16:creationId xmlns:a16="http://schemas.microsoft.com/office/drawing/2014/main" id="{F3D7BE66-DCA0-1445-9355-D5747E67CE43}"/>
              </a:ext>
            </a:extLst>
          </p:cNvPr>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7" name="Straight Connector 80">
            <a:extLst>
              <a:ext uri="{FF2B5EF4-FFF2-40B4-BE49-F238E27FC236}">
                <a16:creationId xmlns:a16="http://schemas.microsoft.com/office/drawing/2014/main" id="{D4264783-1B03-F597-4FC5-40DDFE6E8391}"/>
              </a:ext>
            </a:extLst>
          </p:cNvPr>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18" name="CSMLogo_Final-04.jpg" descr="CSMLogo_Final-04.jpg">
            <a:extLst>
              <a:ext uri="{FF2B5EF4-FFF2-40B4-BE49-F238E27FC236}">
                <a16:creationId xmlns:a16="http://schemas.microsoft.com/office/drawing/2014/main" id="{A955774F-A7F6-0877-622B-A21CBF87ED36}"/>
              </a:ext>
            </a:extLst>
          </p:cNvPr>
          <p:cNvPicPr>
            <a:picLocks noChangeAspect="1"/>
          </p:cNvPicPr>
          <p:nvPr/>
        </p:nvPicPr>
        <p:blipFill>
          <a:blip r:embed="rId3"/>
          <a:srcRect r="71135"/>
          <a:stretch>
            <a:fillRect/>
          </a:stretch>
        </p:blipFill>
        <p:spPr>
          <a:xfrm>
            <a:off x="532112" y="12986056"/>
            <a:ext cx="669349" cy="685938"/>
          </a:xfrm>
          <a:prstGeom prst="rect">
            <a:avLst/>
          </a:prstGeom>
          <a:ln w="12700">
            <a:miter lim="400000"/>
          </a:ln>
        </p:spPr>
      </p:pic>
      <p:sp>
        <p:nvSpPr>
          <p:cNvPr id="19" name="IBM Customer Success / © 2021 IBM Corporation">
            <a:extLst>
              <a:ext uri="{FF2B5EF4-FFF2-40B4-BE49-F238E27FC236}">
                <a16:creationId xmlns:a16="http://schemas.microsoft.com/office/drawing/2014/main" id="{3D6310BA-486A-FDF0-6A3B-822972B8688A}"/>
              </a:ext>
            </a:extLst>
          </p:cNvPr>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pic>
        <p:nvPicPr>
          <p:cNvPr id="21" name="Picture 20">
            <a:extLst>
              <a:ext uri="{FF2B5EF4-FFF2-40B4-BE49-F238E27FC236}">
                <a16:creationId xmlns:a16="http://schemas.microsoft.com/office/drawing/2014/main" id="{5536011F-CF92-055C-A41D-417D31AE3D65}"/>
              </a:ext>
            </a:extLst>
          </p:cNvPr>
          <p:cNvPicPr>
            <a:picLocks noChangeAspect="1"/>
          </p:cNvPicPr>
          <p:nvPr/>
        </p:nvPicPr>
        <p:blipFill>
          <a:blip r:embed="rId4"/>
          <a:stretch>
            <a:fillRect/>
          </a:stretch>
        </p:blipFill>
        <p:spPr>
          <a:xfrm>
            <a:off x="19211457" y="164108"/>
            <a:ext cx="1460259" cy="1096701"/>
          </a:xfrm>
          <a:prstGeom prst="rect">
            <a:avLst/>
          </a:prstGeom>
        </p:spPr>
      </p:pic>
      <p:sp>
        <p:nvSpPr>
          <p:cNvPr id="23" name="Process 22">
            <a:extLst>
              <a:ext uri="{FF2B5EF4-FFF2-40B4-BE49-F238E27FC236}">
                <a16:creationId xmlns:a16="http://schemas.microsoft.com/office/drawing/2014/main" id="{C9F5AE31-4C5D-06C5-E07D-B6BCCDA5A734}"/>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1054052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3" name="Straight Connector 92">
            <a:extLst>
              <a:ext uri="{FF2B5EF4-FFF2-40B4-BE49-F238E27FC236}">
                <a16:creationId xmlns:a16="http://schemas.microsoft.com/office/drawing/2014/main" id="{8A163CF0-553C-BB38-3F6C-A5CD6946D54E}"/>
              </a:ext>
            </a:extLst>
          </p:cNvPr>
          <p:cNvCxnSpPr>
            <a:cxnSpLocks/>
          </p:cNvCxnSpPr>
          <p:nvPr/>
        </p:nvCxnSpPr>
        <p:spPr bwMode="auto">
          <a:xfrm flipV="1">
            <a:off x="5484004" y="3371850"/>
            <a:ext cx="0" cy="3085371"/>
          </a:xfrm>
          <a:prstGeom prst="line">
            <a:avLst/>
          </a:prstGeom>
          <a:ln w="63500">
            <a:solidFill>
              <a:schemeClr val="tx1"/>
            </a:solidFill>
            <a:headEnd type="oval" w="med" len="med"/>
            <a:tailEnd type="none" w="med" len="med"/>
          </a:ln>
          <a:effectLst/>
        </p:spPr>
        <p:style>
          <a:lnRef idx="1">
            <a:schemeClr val="dk1"/>
          </a:lnRef>
          <a:fillRef idx="0">
            <a:schemeClr val="dk1"/>
          </a:fillRef>
          <a:effectRef idx="0">
            <a:schemeClr val="dk1"/>
          </a:effectRef>
          <a:fontRef idx="minor">
            <a:schemeClr val="tx1"/>
          </a:fontRef>
        </p:style>
      </p:cxnSp>
      <p:sp>
        <p:nvSpPr>
          <p:cNvPr id="184" name="Rounded Rectangle 183">
            <a:extLst>
              <a:ext uri="{FF2B5EF4-FFF2-40B4-BE49-F238E27FC236}">
                <a16:creationId xmlns:a16="http://schemas.microsoft.com/office/drawing/2014/main" id="{5EB4DEB5-8563-6007-82B7-44D0664B6F80}"/>
              </a:ext>
            </a:extLst>
          </p:cNvPr>
          <p:cNvSpPr/>
          <p:nvPr/>
        </p:nvSpPr>
        <p:spPr>
          <a:xfrm>
            <a:off x="-42006" y="12767626"/>
            <a:ext cx="24383999" cy="703739"/>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defTabSz="1651000"/>
            <a:r>
              <a:rPr lang="en-US" sz="2800" dirty="0">
                <a:solidFill>
                  <a:schemeClr val="bg1"/>
                </a:solidFill>
                <a:latin typeface="Helvetica Neue Medium"/>
                <a:ea typeface="Helvetica Neue Medium"/>
                <a:cs typeface="Helvetica Neue Medium"/>
                <a:sym typeface="Helvetica Neue Medium"/>
              </a:rPr>
              <a:t>CO-INNOVATE AND ACCELERATE TIME TO VALUE WITH RAPID DEPLOYMENT </a:t>
            </a:r>
          </a:p>
        </p:txBody>
      </p:sp>
      <p:sp>
        <p:nvSpPr>
          <p:cNvPr id="179" name="Rounded Rectangle 178">
            <a:extLst>
              <a:ext uri="{FF2B5EF4-FFF2-40B4-BE49-F238E27FC236}">
                <a16:creationId xmlns:a16="http://schemas.microsoft.com/office/drawing/2014/main" id="{366A516B-E57B-8BF7-8B2D-4634D639EB1A}"/>
              </a:ext>
            </a:extLst>
          </p:cNvPr>
          <p:cNvSpPr/>
          <p:nvPr/>
        </p:nvSpPr>
        <p:spPr>
          <a:xfrm>
            <a:off x="4621835" y="6485770"/>
            <a:ext cx="9805780" cy="5657524"/>
          </a:xfrm>
          <a:prstGeom prst="roundRect">
            <a:avLst/>
          </a:prstGeom>
          <a:solidFill>
            <a:schemeClr val="bg1">
              <a:lumMod val="95000"/>
            </a:schemeClr>
          </a:solidFill>
          <a:ln w="38100">
            <a:solidFill>
              <a:schemeClr val="bg2"/>
            </a:solidFill>
            <a:prstDash val="solid"/>
          </a:ln>
        </p:spPr>
        <p:txBody>
          <a:bodyPr wrap="square" lIns="0" tIns="0" rIns="0" bIns="0" rtlCol="0" anchor="ctr">
            <a:noAutofit/>
          </a:bodyPr>
          <a:lstStyle/>
          <a:p>
            <a:pPr defTabSz="1828800" hangingPunct="1"/>
            <a:endParaRPr lang="en-US" kern="1200" dirty="0" err="1">
              <a:solidFill>
                <a:srgbClr val="FFFFFF"/>
              </a:solidFill>
              <a:latin typeface="Arial"/>
              <a:cs typeface="Arial"/>
            </a:endParaRPr>
          </a:p>
        </p:txBody>
      </p:sp>
      <p:sp>
        <p:nvSpPr>
          <p:cNvPr id="1707" name="Footer Placeholder"/>
          <p:cNvSpPr txBox="1"/>
          <p:nvPr/>
        </p:nvSpPr>
        <p:spPr>
          <a:xfrm>
            <a:off x="609777" y="16984038"/>
            <a:ext cx="10972630"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lgn="l" defTabSz="1829311">
              <a:defRPr sz="1600">
                <a:solidFill>
                  <a:srgbClr val="FFFFFF"/>
                </a:solidFill>
                <a:latin typeface="Arial"/>
                <a:ea typeface="Arial"/>
                <a:cs typeface="Arial"/>
                <a:sym typeface="Arial"/>
              </a:defRPr>
            </a:lvl1pPr>
          </a:lstStyle>
          <a:p>
            <a:pPr defTabSz="1829266"/>
            <a:r>
              <a:t>Group Name / DOC ID / Month XX, 2020 / © 2020 IBM Corporation</a:t>
            </a:r>
          </a:p>
        </p:txBody>
      </p:sp>
      <p:sp>
        <p:nvSpPr>
          <p:cNvPr id="376" name="Title 1">
            <a:extLst>
              <a:ext uri="{FF2B5EF4-FFF2-40B4-BE49-F238E27FC236}">
                <a16:creationId xmlns:a16="http://schemas.microsoft.com/office/drawing/2014/main" id="{D9570D96-CEA0-4B49-AF13-3F41C27ED4DD}"/>
              </a:ext>
            </a:extLst>
          </p:cNvPr>
          <p:cNvSpPr txBox="1">
            <a:spLocks/>
          </p:cNvSpPr>
          <p:nvPr/>
        </p:nvSpPr>
        <p:spPr>
          <a:xfrm>
            <a:off x="660046" y="381751"/>
            <a:ext cx="24027320" cy="1602950"/>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394" b="0">
                <a:solidFill>
                  <a:schemeClr val="bg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43"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891"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32"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777" algn="l" rtl="0" eaLnBrk="1" fontAlgn="base" hangingPunct="1">
              <a:lnSpc>
                <a:spcPct val="90000"/>
              </a:lnSpc>
              <a:spcBef>
                <a:spcPct val="0"/>
              </a:spcBef>
              <a:spcAft>
                <a:spcPct val="0"/>
              </a:spcAft>
              <a:defRPr sz="5915">
                <a:solidFill>
                  <a:srgbClr val="191919"/>
                </a:solidFill>
                <a:latin typeface="HelvNeue Light for IBM" pitchFamily="34" charset="0"/>
              </a:defRPr>
            </a:lvl9pPr>
          </a:lstStyle>
          <a:p>
            <a:pPr defTabSz="914400"/>
            <a:r>
              <a:rPr lang="en-US" sz="6400" dirty="0">
                <a:solidFill>
                  <a:schemeClr val="tx1"/>
                </a:solidFill>
                <a:latin typeface="IBM Plex Sans" panose="020B0503050203000203" pitchFamily="34" charset="0"/>
              </a:rPr>
              <a:t>High Level Roadmap Proposal </a:t>
            </a:r>
            <a:br>
              <a:rPr lang="en-US" dirty="0">
                <a:solidFill>
                  <a:srgbClr val="FFFFFF"/>
                </a:solidFill>
                <a:latin typeface="IBM Plex Sans Light"/>
              </a:rPr>
            </a:br>
            <a:endParaRPr lang="en-US" sz="4400" dirty="0">
              <a:solidFill>
                <a:srgbClr val="FFFFFF"/>
              </a:solidFill>
              <a:latin typeface="IBM Plex Sans Light"/>
            </a:endParaRPr>
          </a:p>
        </p:txBody>
      </p:sp>
      <p:sp>
        <p:nvSpPr>
          <p:cNvPr id="7" name="TextBox 6">
            <a:extLst>
              <a:ext uri="{FF2B5EF4-FFF2-40B4-BE49-F238E27FC236}">
                <a16:creationId xmlns:a16="http://schemas.microsoft.com/office/drawing/2014/main" id="{6F119B2B-0B5C-A143-B9F8-0636EA8EA083}"/>
              </a:ext>
            </a:extLst>
          </p:cNvPr>
          <p:cNvSpPr txBox="1"/>
          <p:nvPr/>
        </p:nvSpPr>
        <p:spPr>
          <a:xfrm>
            <a:off x="31791565" y="22745700"/>
            <a:ext cx="184731" cy="830997"/>
          </a:xfrm>
          <a:prstGeom prst="rect">
            <a:avLst/>
          </a:prstGeom>
          <a:noFill/>
        </p:spPr>
        <p:txBody>
          <a:bodyPr wrap="none" rtlCol="0">
            <a:spAutoFit/>
          </a:bodyPr>
          <a:lstStyle/>
          <a:p>
            <a:endParaRPr lang="en-US" sz="4800" dirty="0"/>
          </a:p>
        </p:txBody>
      </p:sp>
      <p:pic>
        <p:nvPicPr>
          <p:cNvPr id="53" name="Graphic 52">
            <a:extLst>
              <a:ext uri="{FF2B5EF4-FFF2-40B4-BE49-F238E27FC236}">
                <a16:creationId xmlns:a16="http://schemas.microsoft.com/office/drawing/2014/main" id="{F2FCC3CC-CCEF-1A25-05A4-5E1EC5688F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69939" y="1968103"/>
            <a:ext cx="946610" cy="946610"/>
          </a:xfrm>
          <a:prstGeom prst="rect">
            <a:avLst/>
          </a:prstGeom>
        </p:spPr>
      </p:pic>
      <p:sp>
        <p:nvSpPr>
          <p:cNvPr id="56" name="TextBox 45">
            <a:extLst>
              <a:ext uri="{FF2B5EF4-FFF2-40B4-BE49-F238E27FC236}">
                <a16:creationId xmlns:a16="http://schemas.microsoft.com/office/drawing/2014/main" id="{0B69085E-F1CE-261C-E12B-45CDFA304826}"/>
              </a:ext>
            </a:extLst>
          </p:cNvPr>
          <p:cNvSpPr txBox="1">
            <a:spLocks noChangeArrowheads="1"/>
          </p:cNvSpPr>
          <p:nvPr/>
        </p:nvSpPr>
        <p:spPr bwMode="auto">
          <a:xfrm>
            <a:off x="3112441" y="1857872"/>
            <a:ext cx="4072334" cy="706668"/>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l" defTabSz="1828008" hangingPunct="1"/>
            <a:r>
              <a:rPr lang="en-US" altLang="en-US" sz="3992" b="1" kern="1200" dirty="0">
                <a:latin typeface="Arial" panose="020B0604020202020204" pitchFamily="34" charset="0"/>
              </a:rPr>
              <a:t>Q1</a:t>
            </a:r>
            <a:endParaRPr lang="en-US" altLang="en-US" sz="2796" kern="1200" dirty="0">
              <a:latin typeface="Arial" panose="020B0604020202020204" pitchFamily="34" charset="0"/>
            </a:endParaRPr>
          </a:p>
        </p:txBody>
      </p:sp>
      <p:sp>
        <p:nvSpPr>
          <p:cNvPr id="57" name="TextBox 72">
            <a:extLst>
              <a:ext uri="{FF2B5EF4-FFF2-40B4-BE49-F238E27FC236}">
                <a16:creationId xmlns:a16="http://schemas.microsoft.com/office/drawing/2014/main" id="{A801BAED-B249-0E96-BD00-08F04264AC6A}"/>
              </a:ext>
            </a:extLst>
          </p:cNvPr>
          <p:cNvSpPr txBox="1">
            <a:spLocks noChangeArrowheads="1"/>
          </p:cNvSpPr>
          <p:nvPr/>
        </p:nvSpPr>
        <p:spPr bwMode="auto">
          <a:xfrm>
            <a:off x="7942201" y="1864614"/>
            <a:ext cx="4420934" cy="706668"/>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l" defTabSz="1828008" hangingPunct="1"/>
            <a:r>
              <a:rPr lang="en-US" altLang="en-US" sz="3992" b="1" kern="1200" dirty="0">
                <a:latin typeface="Arial" panose="020B0604020202020204" pitchFamily="34" charset="0"/>
              </a:rPr>
              <a:t>Q2</a:t>
            </a:r>
            <a:endParaRPr lang="en-US" altLang="en-US" sz="2796" kern="1200" dirty="0">
              <a:latin typeface="Arial" panose="020B0604020202020204" pitchFamily="34" charset="0"/>
            </a:endParaRPr>
          </a:p>
        </p:txBody>
      </p:sp>
      <p:sp>
        <p:nvSpPr>
          <p:cNvPr id="58" name="TextBox 73">
            <a:extLst>
              <a:ext uri="{FF2B5EF4-FFF2-40B4-BE49-F238E27FC236}">
                <a16:creationId xmlns:a16="http://schemas.microsoft.com/office/drawing/2014/main" id="{3F73DFB5-4C32-0DB2-C918-57DA3AC41D67}"/>
              </a:ext>
            </a:extLst>
          </p:cNvPr>
          <p:cNvSpPr txBox="1">
            <a:spLocks noChangeArrowheads="1"/>
          </p:cNvSpPr>
          <p:nvPr/>
        </p:nvSpPr>
        <p:spPr bwMode="auto">
          <a:xfrm>
            <a:off x="13421023" y="1860588"/>
            <a:ext cx="4170574" cy="706668"/>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l" defTabSz="1828008" hangingPunct="1"/>
            <a:r>
              <a:rPr lang="en-US" altLang="en-US" sz="3992" b="1" kern="1200" dirty="0">
                <a:latin typeface="Arial" panose="020B0604020202020204" pitchFamily="34" charset="0"/>
              </a:rPr>
              <a:t>Q3</a:t>
            </a:r>
            <a:endParaRPr lang="en-US" altLang="en-US" sz="2796" kern="1200" dirty="0">
              <a:latin typeface="Arial" panose="020B0604020202020204" pitchFamily="34" charset="0"/>
            </a:endParaRPr>
          </a:p>
        </p:txBody>
      </p:sp>
      <p:sp>
        <p:nvSpPr>
          <p:cNvPr id="59" name="TextBox 74">
            <a:extLst>
              <a:ext uri="{FF2B5EF4-FFF2-40B4-BE49-F238E27FC236}">
                <a16:creationId xmlns:a16="http://schemas.microsoft.com/office/drawing/2014/main" id="{0DA395DC-F4E8-8EE8-45A0-1F450627CD39}"/>
              </a:ext>
            </a:extLst>
          </p:cNvPr>
          <p:cNvSpPr txBox="1">
            <a:spLocks noChangeArrowheads="1"/>
          </p:cNvSpPr>
          <p:nvPr/>
        </p:nvSpPr>
        <p:spPr bwMode="auto">
          <a:xfrm>
            <a:off x="18649487" y="1831154"/>
            <a:ext cx="3124762" cy="706668"/>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l" defTabSz="1828008" hangingPunct="1"/>
            <a:r>
              <a:rPr lang="en-US" altLang="en-US" sz="3992" b="1" kern="1200" dirty="0">
                <a:latin typeface="Arial" panose="020B0604020202020204" pitchFamily="34" charset="0"/>
              </a:rPr>
              <a:t>Q4</a:t>
            </a:r>
            <a:endParaRPr lang="en-US" altLang="en-US" sz="2796" kern="1200" dirty="0">
              <a:latin typeface="Arial" panose="020B0604020202020204" pitchFamily="34" charset="0"/>
            </a:endParaRPr>
          </a:p>
        </p:txBody>
      </p:sp>
      <p:sp>
        <p:nvSpPr>
          <p:cNvPr id="60" name="TextBox 59">
            <a:extLst>
              <a:ext uri="{FF2B5EF4-FFF2-40B4-BE49-F238E27FC236}">
                <a16:creationId xmlns:a16="http://schemas.microsoft.com/office/drawing/2014/main" id="{D30AEAA5-600F-0804-D615-D084DFA94EE9}"/>
              </a:ext>
            </a:extLst>
          </p:cNvPr>
          <p:cNvSpPr txBox="1"/>
          <p:nvPr/>
        </p:nvSpPr>
        <p:spPr>
          <a:xfrm>
            <a:off x="644481" y="1908865"/>
            <a:ext cx="1181734" cy="522579"/>
          </a:xfrm>
          <a:prstGeom prst="rect">
            <a:avLst/>
          </a:prstGeom>
          <a:noFill/>
        </p:spPr>
        <p:txBody>
          <a:bodyPr wrap="none">
            <a:spAutoFit/>
          </a:bodyPr>
          <a:lstStyle/>
          <a:p>
            <a:pPr algn="l" defTabSz="1828008" hangingPunct="1">
              <a:defRPr/>
            </a:pPr>
            <a:r>
              <a:rPr lang="en-US" sz="2796" b="1" kern="1200" dirty="0">
                <a:solidFill>
                  <a:schemeClr val="tx1"/>
                </a:solidFill>
                <a:latin typeface="Arial" panose="020B0604020202020204" pitchFamily="34" charset="0"/>
              </a:rPr>
              <a:t>YEAR</a:t>
            </a:r>
            <a:endParaRPr lang="en-US" sz="2098" kern="1200" dirty="0">
              <a:solidFill>
                <a:schemeClr val="tx1"/>
              </a:solidFill>
              <a:latin typeface="Arial" panose="020B0604020202020204" pitchFamily="34" charset="0"/>
            </a:endParaRPr>
          </a:p>
        </p:txBody>
      </p:sp>
      <p:cxnSp>
        <p:nvCxnSpPr>
          <p:cNvPr id="61" name="Straight Arrow Connector 60">
            <a:extLst>
              <a:ext uri="{FF2B5EF4-FFF2-40B4-BE49-F238E27FC236}">
                <a16:creationId xmlns:a16="http://schemas.microsoft.com/office/drawing/2014/main" id="{9B0D208D-3A86-7419-16F5-D0F3217949AD}"/>
              </a:ext>
            </a:extLst>
          </p:cNvPr>
          <p:cNvCxnSpPr>
            <a:cxnSpLocks/>
          </p:cNvCxnSpPr>
          <p:nvPr/>
        </p:nvCxnSpPr>
        <p:spPr>
          <a:xfrm>
            <a:off x="609777" y="2571282"/>
            <a:ext cx="22889052" cy="0"/>
          </a:xfrm>
          <a:prstGeom prst="straightConnector1">
            <a:avLst/>
          </a:prstGeom>
          <a:ln w="88900">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62" name="TextBox 61">
            <a:extLst>
              <a:ext uri="{FF2B5EF4-FFF2-40B4-BE49-F238E27FC236}">
                <a16:creationId xmlns:a16="http://schemas.microsoft.com/office/drawing/2014/main" id="{64D8879C-63A4-1E33-4A2D-72E13033141F}"/>
              </a:ext>
            </a:extLst>
          </p:cNvPr>
          <p:cNvSpPr txBox="1"/>
          <p:nvPr/>
        </p:nvSpPr>
        <p:spPr>
          <a:xfrm>
            <a:off x="22236761" y="1857872"/>
            <a:ext cx="814647" cy="522579"/>
          </a:xfrm>
          <a:prstGeom prst="rect">
            <a:avLst/>
          </a:prstGeom>
          <a:noFill/>
        </p:spPr>
        <p:txBody>
          <a:bodyPr wrap="none">
            <a:spAutoFit/>
          </a:bodyPr>
          <a:lstStyle/>
          <a:p>
            <a:pPr algn="l" defTabSz="1828008" hangingPunct="1">
              <a:defRPr/>
            </a:pPr>
            <a:r>
              <a:rPr lang="en-US" sz="2796" b="1" kern="1200" dirty="0">
                <a:solidFill>
                  <a:schemeClr val="tx1"/>
                </a:solidFill>
                <a:latin typeface="Arial" panose="020B0604020202020204" pitchFamily="34" charset="0"/>
              </a:rPr>
              <a:t>+++</a:t>
            </a:r>
            <a:endParaRPr lang="en-US" sz="2098" kern="1200" dirty="0">
              <a:solidFill>
                <a:schemeClr val="tx1"/>
              </a:solidFill>
              <a:latin typeface="Arial" panose="020B0604020202020204" pitchFamily="34" charset="0"/>
            </a:endParaRPr>
          </a:p>
        </p:txBody>
      </p:sp>
      <p:grpSp>
        <p:nvGrpSpPr>
          <p:cNvPr id="4" name="Group 3">
            <a:extLst>
              <a:ext uri="{FF2B5EF4-FFF2-40B4-BE49-F238E27FC236}">
                <a16:creationId xmlns:a16="http://schemas.microsoft.com/office/drawing/2014/main" id="{3A757A9E-CFAF-3A82-8436-D3F0AAF833A7}"/>
              </a:ext>
            </a:extLst>
          </p:cNvPr>
          <p:cNvGrpSpPr/>
          <p:nvPr/>
        </p:nvGrpSpPr>
        <p:grpSpPr>
          <a:xfrm>
            <a:off x="1235348" y="2966017"/>
            <a:ext cx="23681659" cy="2149287"/>
            <a:chOff x="1235348" y="3456980"/>
            <a:chExt cx="19232617" cy="2149287"/>
          </a:xfrm>
        </p:grpSpPr>
        <p:sp>
          <p:nvSpPr>
            <p:cNvPr id="63" name="Right Arrow 62">
              <a:extLst>
                <a:ext uri="{FF2B5EF4-FFF2-40B4-BE49-F238E27FC236}">
                  <a16:creationId xmlns:a16="http://schemas.microsoft.com/office/drawing/2014/main" id="{4FE06088-0EA7-16F2-2801-9BD9096A3698}"/>
                </a:ext>
              </a:extLst>
            </p:cNvPr>
            <p:cNvSpPr/>
            <p:nvPr/>
          </p:nvSpPr>
          <p:spPr>
            <a:xfrm>
              <a:off x="1235348" y="3456980"/>
              <a:ext cx="9762276" cy="803510"/>
            </a:xfrm>
            <a:prstGeom prst="rightArrow">
              <a:avLst/>
            </a:prstGeom>
            <a:solidFill>
              <a:srgbClr val="FFC000"/>
            </a:solidFill>
          </p:spPr>
          <p:txBody>
            <a:bodyPr wrap="square" lIns="0" tIns="0" rIns="0" bIns="0" rtlCol="0" anchor="ctr">
              <a:noAutofit/>
            </a:bodyPr>
            <a:lstStyle/>
            <a:p>
              <a:pPr defTabSz="1828800" hangingPunct="1"/>
              <a:r>
                <a:rPr lang="en-US" b="1" kern="1200" dirty="0">
                  <a:solidFill>
                    <a:srgbClr val="000000"/>
                  </a:solidFill>
                  <a:latin typeface="Arial"/>
                  <a:cs typeface="Arial"/>
                </a:rPr>
                <a:t>INITIATIVE 1</a:t>
              </a:r>
            </a:p>
          </p:txBody>
        </p:sp>
        <p:sp>
          <p:nvSpPr>
            <p:cNvPr id="64" name="Right Arrow 63">
              <a:extLst>
                <a:ext uri="{FF2B5EF4-FFF2-40B4-BE49-F238E27FC236}">
                  <a16:creationId xmlns:a16="http://schemas.microsoft.com/office/drawing/2014/main" id="{68356CDD-CBC5-AACD-483C-6D4A14DC1E0A}"/>
                </a:ext>
              </a:extLst>
            </p:cNvPr>
            <p:cNvSpPr/>
            <p:nvPr/>
          </p:nvSpPr>
          <p:spPr>
            <a:xfrm>
              <a:off x="7031632" y="4129868"/>
              <a:ext cx="7183548" cy="847630"/>
            </a:xfrm>
            <a:prstGeom prst="rightArrow">
              <a:avLst>
                <a:gd name="adj1" fmla="val 42887"/>
                <a:gd name="adj2" fmla="val 50000"/>
              </a:avLst>
            </a:prstGeom>
            <a:solidFill>
              <a:srgbClr val="FFC000"/>
            </a:solidFill>
          </p:spPr>
          <p:txBody>
            <a:bodyPr wrap="square" lIns="0" tIns="0" rIns="0" bIns="0" rtlCol="0" anchor="ctr">
              <a:noAutofit/>
            </a:bodyPr>
            <a:lstStyle/>
            <a:p>
              <a:pPr defTabSz="1828800" hangingPunct="1"/>
              <a:endParaRPr lang="en-US" b="1" kern="1200" dirty="0">
                <a:solidFill>
                  <a:srgbClr val="000000"/>
                </a:solidFill>
                <a:latin typeface="Arial"/>
                <a:cs typeface="Arial"/>
              </a:endParaRPr>
            </a:p>
            <a:p>
              <a:pPr defTabSz="1828800" hangingPunct="1"/>
              <a:r>
                <a:rPr lang="en-US" b="1" kern="1200" dirty="0">
                  <a:solidFill>
                    <a:srgbClr val="000000"/>
                  </a:solidFill>
                  <a:latin typeface="Arial"/>
                  <a:cs typeface="Arial"/>
                </a:rPr>
                <a:t>INITIATIVE 2</a:t>
              </a:r>
            </a:p>
            <a:p>
              <a:pPr defTabSz="1828800" hangingPunct="1"/>
              <a:endParaRPr lang="en-US" b="1" kern="1200" dirty="0">
                <a:solidFill>
                  <a:srgbClr val="000000"/>
                </a:solidFill>
                <a:latin typeface="Arial"/>
                <a:cs typeface="Arial"/>
              </a:endParaRPr>
            </a:p>
          </p:txBody>
        </p:sp>
        <p:sp>
          <p:nvSpPr>
            <p:cNvPr id="65" name="Right Arrow 64">
              <a:extLst>
                <a:ext uri="{FF2B5EF4-FFF2-40B4-BE49-F238E27FC236}">
                  <a16:creationId xmlns:a16="http://schemas.microsoft.com/office/drawing/2014/main" id="{C5EEE9FA-D8C9-EA45-B1B5-9AE561342B98}"/>
                </a:ext>
              </a:extLst>
            </p:cNvPr>
            <p:cNvSpPr/>
            <p:nvPr/>
          </p:nvSpPr>
          <p:spPr>
            <a:xfrm>
              <a:off x="10705689" y="4802757"/>
              <a:ext cx="9762276" cy="803510"/>
            </a:xfrm>
            <a:prstGeom prst="rightArrow">
              <a:avLst/>
            </a:prstGeom>
            <a:solidFill>
              <a:srgbClr val="FFC000"/>
            </a:solidFill>
          </p:spPr>
          <p:txBody>
            <a:bodyPr wrap="square" lIns="0" tIns="0" rIns="0" bIns="0" rtlCol="0" anchor="ctr">
              <a:noAutofit/>
            </a:bodyPr>
            <a:lstStyle/>
            <a:p>
              <a:pPr defTabSz="1828800" hangingPunct="1"/>
              <a:r>
                <a:rPr lang="en-US" b="1" kern="1200" dirty="0">
                  <a:solidFill>
                    <a:srgbClr val="000000"/>
                  </a:solidFill>
                  <a:latin typeface="Arial"/>
                  <a:cs typeface="Arial"/>
                </a:rPr>
                <a:t>…..</a:t>
              </a:r>
            </a:p>
          </p:txBody>
        </p:sp>
      </p:grpSp>
      <p:sp>
        <p:nvSpPr>
          <p:cNvPr id="68" name="TextBox 67">
            <a:extLst>
              <a:ext uri="{FF2B5EF4-FFF2-40B4-BE49-F238E27FC236}">
                <a16:creationId xmlns:a16="http://schemas.microsoft.com/office/drawing/2014/main" id="{774E3A93-9C64-C144-8CE5-A14BCE1FF6EE}"/>
              </a:ext>
            </a:extLst>
          </p:cNvPr>
          <p:cNvSpPr txBox="1"/>
          <p:nvPr/>
        </p:nvSpPr>
        <p:spPr>
          <a:xfrm>
            <a:off x="5150476" y="7017152"/>
            <a:ext cx="6513555" cy="523220"/>
          </a:xfrm>
          <a:prstGeom prst="rect">
            <a:avLst/>
          </a:prstGeom>
          <a:noFill/>
        </p:spPr>
        <p:txBody>
          <a:bodyPr wrap="square" rtlCol="0">
            <a:spAutoFit/>
          </a:bodyPr>
          <a:lstStyle/>
          <a:p>
            <a:pPr algn="l" defTabSz="1828800" hangingPunct="1"/>
            <a:r>
              <a:rPr lang="en-US" sz="2800" b="1" kern="1200" dirty="0">
                <a:solidFill>
                  <a:schemeClr val="tx1"/>
                </a:solidFill>
                <a:latin typeface="IBM Plex Sans"/>
              </a:rPr>
              <a:t>PROJECT  USE CASES </a:t>
            </a:r>
          </a:p>
        </p:txBody>
      </p:sp>
      <p:pic>
        <p:nvPicPr>
          <p:cNvPr id="69" name="Picture 68">
            <a:extLst>
              <a:ext uri="{FF2B5EF4-FFF2-40B4-BE49-F238E27FC236}">
                <a16:creationId xmlns:a16="http://schemas.microsoft.com/office/drawing/2014/main" id="{914D055D-555E-2A73-4236-8725DF318645}"/>
              </a:ext>
            </a:extLst>
          </p:cNvPr>
          <p:cNvPicPr>
            <a:picLocks noChangeAspect="1"/>
          </p:cNvPicPr>
          <p:nvPr/>
        </p:nvPicPr>
        <p:blipFill>
          <a:blip r:embed="rId5"/>
          <a:stretch>
            <a:fillRect/>
          </a:stretch>
        </p:blipFill>
        <p:spPr>
          <a:xfrm>
            <a:off x="7488002" y="5135995"/>
            <a:ext cx="2479053" cy="1356270"/>
          </a:xfrm>
          <a:prstGeom prst="rect">
            <a:avLst/>
          </a:prstGeom>
          <a:solidFill>
            <a:schemeClr val="bg1"/>
          </a:solidFill>
        </p:spPr>
      </p:pic>
      <p:grpSp>
        <p:nvGrpSpPr>
          <p:cNvPr id="16" name="Group 15">
            <a:extLst>
              <a:ext uri="{FF2B5EF4-FFF2-40B4-BE49-F238E27FC236}">
                <a16:creationId xmlns:a16="http://schemas.microsoft.com/office/drawing/2014/main" id="{2CFE6628-E944-B7F1-7A8A-C3FE95923DBF}"/>
              </a:ext>
            </a:extLst>
          </p:cNvPr>
          <p:cNvGrpSpPr/>
          <p:nvPr/>
        </p:nvGrpSpPr>
        <p:grpSpPr>
          <a:xfrm>
            <a:off x="5109692" y="7560680"/>
            <a:ext cx="8974643" cy="3616199"/>
            <a:chOff x="3388493" y="7830755"/>
            <a:chExt cx="8974643" cy="3616199"/>
          </a:xfrm>
        </p:grpSpPr>
        <p:sp>
          <p:nvSpPr>
            <p:cNvPr id="120" name="Rounded Rectangle 119">
              <a:extLst>
                <a:ext uri="{FF2B5EF4-FFF2-40B4-BE49-F238E27FC236}">
                  <a16:creationId xmlns:a16="http://schemas.microsoft.com/office/drawing/2014/main" id="{87F3C352-F548-BA02-2DA0-D7C17F963BAD}"/>
                </a:ext>
              </a:extLst>
            </p:cNvPr>
            <p:cNvSpPr/>
            <p:nvPr/>
          </p:nvSpPr>
          <p:spPr bwMode="auto">
            <a:xfrm>
              <a:off x="3388493" y="7830755"/>
              <a:ext cx="8537949" cy="2258373"/>
            </a:xfrm>
            <a:prstGeom prst="roundRect">
              <a:avLst/>
            </a:prstGeom>
            <a:solidFill>
              <a:schemeClr val="tx2"/>
            </a:solid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Use Case 1</a:t>
              </a: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sp>
          <p:nvSpPr>
            <p:cNvPr id="122" name="Rounded Rectangle 121">
              <a:extLst>
                <a:ext uri="{FF2B5EF4-FFF2-40B4-BE49-F238E27FC236}">
                  <a16:creationId xmlns:a16="http://schemas.microsoft.com/office/drawing/2014/main" id="{2483BF33-9038-2336-84CF-F652A0646281}"/>
                </a:ext>
              </a:extLst>
            </p:cNvPr>
            <p:cNvSpPr/>
            <p:nvPr/>
          </p:nvSpPr>
          <p:spPr bwMode="auto">
            <a:xfrm>
              <a:off x="3595343" y="8509668"/>
              <a:ext cx="8537949" cy="2258373"/>
            </a:xfrm>
            <a:prstGeom prst="roundRect">
              <a:avLst/>
            </a:prstGeom>
            <a:solidFill>
              <a:schemeClr val="tx2"/>
            </a:solid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defTabSz="685983" hangingPunct="1"/>
              <a:r>
                <a:rPr lang="en-US" b="1" kern="1200" dirty="0">
                  <a:solidFill>
                    <a:schemeClr val="bg2">
                      <a:lumMod val="10000"/>
                    </a:schemeClr>
                  </a:solidFill>
                  <a:latin typeface="IBM Plex Sans" charset="0"/>
                  <a:ea typeface="IBM Plex Sans" charset="0"/>
                  <a:cs typeface="IBM Plex Sans" charset="0"/>
                </a:rPr>
                <a:t>Use Case 2</a:t>
              </a:r>
            </a:p>
          </p:txBody>
        </p:sp>
        <p:grpSp>
          <p:nvGrpSpPr>
            <p:cNvPr id="13" name="Group 12">
              <a:extLst>
                <a:ext uri="{FF2B5EF4-FFF2-40B4-BE49-F238E27FC236}">
                  <a16:creationId xmlns:a16="http://schemas.microsoft.com/office/drawing/2014/main" id="{EC42E9DF-025F-E677-4670-AD1793254766}"/>
                </a:ext>
              </a:extLst>
            </p:cNvPr>
            <p:cNvGrpSpPr/>
            <p:nvPr/>
          </p:nvGrpSpPr>
          <p:grpSpPr>
            <a:xfrm>
              <a:off x="3825188" y="9297136"/>
              <a:ext cx="8537948" cy="2149818"/>
              <a:chOff x="1377184" y="7582469"/>
              <a:chExt cx="10094255" cy="1771681"/>
            </a:xfrm>
            <a:solidFill>
              <a:schemeClr val="tx2"/>
            </a:solidFill>
          </p:grpSpPr>
          <p:sp>
            <p:nvSpPr>
              <p:cNvPr id="91" name="Rounded Rectangle 90">
                <a:extLst>
                  <a:ext uri="{FF2B5EF4-FFF2-40B4-BE49-F238E27FC236}">
                    <a16:creationId xmlns:a16="http://schemas.microsoft.com/office/drawing/2014/main" id="{6B060575-3538-7B09-1484-F2579A405A10}"/>
                  </a:ext>
                </a:extLst>
              </p:cNvPr>
              <p:cNvSpPr/>
              <p:nvPr/>
            </p:nvSpPr>
            <p:spPr bwMode="auto">
              <a:xfrm>
                <a:off x="1377184" y="7582469"/>
                <a:ext cx="10094255" cy="1771681"/>
              </a:xfrm>
              <a:prstGeom prst="roundRect">
                <a:avLst/>
              </a:prstGeom>
              <a:grp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Use Case </a:t>
                </a:r>
                <a:r>
                  <a:rPr lang="en-US" b="1" kern="1200" dirty="0">
                    <a:solidFill>
                      <a:schemeClr val="bg2">
                        <a:lumMod val="10000"/>
                      </a:schemeClr>
                    </a:solidFill>
                    <a:latin typeface="IBM Plex Sans" charset="0"/>
                    <a:ea typeface="IBM Plex Sans" charset="0"/>
                    <a:cs typeface="IBM Plex Sans" charset="0"/>
                  </a:rPr>
                  <a:t>….</a:t>
                </a:r>
                <a:endParaRPr kumimoji="0" lang="en-US" b="1"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pic>
            <p:nvPicPr>
              <p:cNvPr id="12" name="Picture 11">
                <a:extLst>
                  <a:ext uri="{FF2B5EF4-FFF2-40B4-BE49-F238E27FC236}">
                    <a16:creationId xmlns:a16="http://schemas.microsoft.com/office/drawing/2014/main" id="{D201E64C-96E8-4637-4A6F-A6C47DEAFDD9}"/>
                  </a:ext>
                </a:extLst>
              </p:cNvPr>
              <p:cNvPicPr>
                <a:picLocks noChangeAspect="1"/>
              </p:cNvPicPr>
              <p:nvPr/>
            </p:nvPicPr>
            <p:blipFill>
              <a:blip r:embed="rId6"/>
              <a:stretch>
                <a:fillRect/>
              </a:stretch>
            </p:blipFill>
            <p:spPr>
              <a:xfrm>
                <a:off x="1429987" y="8178673"/>
                <a:ext cx="9839121" cy="982622"/>
              </a:xfrm>
              <a:prstGeom prst="rect">
                <a:avLst/>
              </a:prstGeom>
              <a:grpFill/>
            </p:spPr>
          </p:pic>
        </p:grpSp>
      </p:grpSp>
      <p:sp>
        <p:nvSpPr>
          <p:cNvPr id="123" name="Folded Corner 122">
            <a:extLst>
              <a:ext uri="{FF2B5EF4-FFF2-40B4-BE49-F238E27FC236}">
                <a16:creationId xmlns:a16="http://schemas.microsoft.com/office/drawing/2014/main" id="{FA2259F8-1F82-E5D5-F1DA-487D3320D06E}"/>
              </a:ext>
            </a:extLst>
          </p:cNvPr>
          <p:cNvSpPr/>
          <p:nvPr/>
        </p:nvSpPr>
        <p:spPr>
          <a:xfrm>
            <a:off x="14921744" y="167457"/>
            <a:ext cx="4072334" cy="1538940"/>
          </a:xfrm>
          <a:prstGeom prst="foldedCorner">
            <a:avLst>
              <a:gd name="adj" fmla="val 0"/>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r>
              <a:rPr lang="en-US" kern="1200" dirty="0">
                <a:solidFill>
                  <a:srgbClr val="C00000"/>
                </a:solidFill>
                <a:latin typeface="Calibri"/>
              </a:rPr>
              <a:t>Timeline in this deck </a:t>
            </a:r>
          </a:p>
          <a:p>
            <a:pPr defTabSz="1828754" hangingPunct="1">
              <a:defRPr/>
            </a:pPr>
            <a:r>
              <a:rPr lang="en-US" kern="1200" dirty="0">
                <a:solidFill>
                  <a:srgbClr val="C00000"/>
                </a:solidFill>
                <a:latin typeface="Calibri"/>
              </a:rPr>
              <a:t>subject to change</a:t>
            </a:r>
          </a:p>
          <a:p>
            <a:pPr defTabSz="1828754" hangingPunct="1">
              <a:defRPr/>
            </a:pPr>
            <a:r>
              <a:rPr lang="en-US" kern="1200" dirty="0">
                <a:solidFill>
                  <a:srgbClr val="C00000"/>
                </a:solidFill>
                <a:latin typeface="Calibri"/>
              </a:rPr>
              <a:t> based on </a:t>
            </a:r>
          </a:p>
          <a:p>
            <a:pPr defTabSz="1828754" hangingPunct="1">
              <a:defRPr/>
            </a:pPr>
            <a:r>
              <a:rPr lang="en-US" kern="1200" dirty="0">
                <a:solidFill>
                  <a:srgbClr val="C00000"/>
                </a:solidFill>
                <a:latin typeface="Calibri"/>
              </a:rPr>
              <a:t>Customer Confirming Scope</a:t>
            </a:r>
          </a:p>
        </p:txBody>
      </p:sp>
      <p:grpSp>
        <p:nvGrpSpPr>
          <p:cNvPr id="124" name="Group 123">
            <a:extLst>
              <a:ext uri="{FF2B5EF4-FFF2-40B4-BE49-F238E27FC236}">
                <a16:creationId xmlns:a16="http://schemas.microsoft.com/office/drawing/2014/main" id="{C1090FA1-55A3-442D-F5EA-D5821D89413A}"/>
              </a:ext>
            </a:extLst>
          </p:cNvPr>
          <p:cNvGrpSpPr/>
          <p:nvPr/>
        </p:nvGrpSpPr>
        <p:grpSpPr>
          <a:xfrm>
            <a:off x="20731186" y="5686777"/>
            <a:ext cx="4737634" cy="2091612"/>
            <a:chOff x="6466077" y="373247"/>
            <a:chExt cx="2368817" cy="1045806"/>
          </a:xfrm>
        </p:grpSpPr>
        <p:sp>
          <p:nvSpPr>
            <p:cNvPr id="125" name="Rectangle 124">
              <a:extLst>
                <a:ext uri="{FF2B5EF4-FFF2-40B4-BE49-F238E27FC236}">
                  <a16:creationId xmlns:a16="http://schemas.microsoft.com/office/drawing/2014/main" id="{78CC6C4A-BEBC-8C7E-8FE9-E1380AE313C7}"/>
                </a:ext>
              </a:extLst>
            </p:cNvPr>
            <p:cNvSpPr/>
            <p:nvPr/>
          </p:nvSpPr>
          <p:spPr>
            <a:xfrm>
              <a:off x="6466077" y="1192163"/>
              <a:ext cx="1701409" cy="226890"/>
            </a:xfrm>
            <a:prstGeom prst="rect">
              <a:avLst/>
            </a:prstGeom>
            <a:solidFill>
              <a:schemeClr val="bg1"/>
            </a:solidFill>
            <a:ln>
              <a:solidFill>
                <a:srgbClr val="FFC000"/>
              </a:solidFill>
            </a:ln>
          </p:spPr>
          <p:txBody>
            <a:bodyPr wrap="square" lIns="0" tIns="0" rIns="0" bIns="0" rtlCol="0" anchor="ctr">
              <a:noAutofit/>
            </a:bodyPr>
            <a:lstStyle/>
            <a:p>
              <a:pPr defTabSz="1828800" hangingPunct="1"/>
              <a:r>
                <a:rPr lang="en-US" sz="1800" kern="1200" dirty="0">
                  <a:solidFill>
                    <a:srgbClr val="000000"/>
                  </a:solidFill>
                  <a:latin typeface="Arial"/>
                  <a:cs typeface="Arial"/>
                </a:rPr>
                <a:t>APPROVED</a:t>
              </a:r>
            </a:p>
          </p:txBody>
        </p:sp>
        <p:sp>
          <p:nvSpPr>
            <p:cNvPr id="126" name="Rectangle 125">
              <a:extLst>
                <a:ext uri="{FF2B5EF4-FFF2-40B4-BE49-F238E27FC236}">
                  <a16:creationId xmlns:a16="http://schemas.microsoft.com/office/drawing/2014/main" id="{F7A05952-F6B5-CC97-2BC3-1745F5071BA9}"/>
                </a:ext>
              </a:extLst>
            </p:cNvPr>
            <p:cNvSpPr/>
            <p:nvPr/>
          </p:nvSpPr>
          <p:spPr>
            <a:xfrm>
              <a:off x="6466077" y="583576"/>
              <a:ext cx="1702605" cy="259611"/>
            </a:xfrm>
            <a:prstGeom prst="rect">
              <a:avLst/>
            </a:prstGeom>
            <a:solidFill>
              <a:schemeClr val="bg1"/>
            </a:solidFill>
            <a:ln>
              <a:solidFill>
                <a:srgbClr val="FFC000"/>
              </a:solidFill>
            </a:ln>
          </p:spPr>
          <p:txBody>
            <a:bodyPr wrap="square" lIns="0" tIns="0" rIns="0" bIns="0" rtlCol="0" anchor="ctr">
              <a:noAutofit/>
            </a:bodyPr>
            <a:lstStyle/>
            <a:p>
              <a:pPr defTabSz="1828800" hangingPunct="1"/>
              <a:r>
                <a:rPr lang="en-US" sz="1800" kern="1200" dirty="0">
                  <a:solidFill>
                    <a:srgbClr val="000000"/>
                  </a:solidFill>
                  <a:latin typeface="Arial"/>
                  <a:cs typeface="Arial"/>
                </a:rPr>
                <a:t>IN EVALUATION</a:t>
              </a:r>
            </a:p>
          </p:txBody>
        </p:sp>
        <p:sp>
          <p:nvSpPr>
            <p:cNvPr id="128" name="TextBox 127">
              <a:extLst>
                <a:ext uri="{FF2B5EF4-FFF2-40B4-BE49-F238E27FC236}">
                  <a16:creationId xmlns:a16="http://schemas.microsoft.com/office/drawing/2014/main" id="{D5B1D374-2279-0908-B774-DFD9620705BA}"/>
                </a:ext>
              </a:extLst>
            </p:cNvPr>
            <p:cNvSpPr txBox="1"/>
            <p:nvPr/>
          </p:nvSpPr>
          <p:spPr>
            <a:xfrm>
              <a:off x="6727521" y="373247"/>
              <a:ext cx="2107373" cy="184666"/>
            </a:xfrm>
            <a:prstGeom prst="rect">
              <a:avLst/>
            </a:prstGeom>
            <a:noFill/>
            <a:ln>
              <a:noFill/>
            </a:ln>
          </p:spPr>
          <p:txBody>
            <a:bodyPr wrap="square" rtlCol="0">
              <a:spAutoFit/>
            </a:bodyPr>
            <a:lstStyle/>
            <a:p>
              <a:pPr algn="l" defTabSz="1828800" hangingPunct="1"/>
              <a:r>
                <a:rPr lang="en-US" sz="1800" b="1" kern="1200" dirty="0">
                  <a:solidFill>
                    <a:schemeClr val="tx1"/>
                  </a:solidFill>
                  <a:latin typeface="IBM Plex Sans"/>
                </a:rPr>
                <a:t>INITIATIVES STATUS</a:t>
              </a:r>
            </a:p>
          </p:txBody>
        </p:sp>
      </p:grpSp>
      <p:sp>
        <p:nvSpPr>
          <p:cNvPr id="129" name="Rectangle 128">
            <a:extLst>
              <a:ext uri="{FF2B5EF4-FFF2-40B4-BE49-F238E27FC236}">
                <a16:creationId xmlns:a16="http://schemas.microsoft.com/office/drawing/2014/main" id="{4B81B4AA-777E-5A38-3F0D-DEBB759C349E}"/>
              </a:ext>
            </a:extLst>
          </p:cNvPr>
          <p:cNvSpPr/>
          <p:nvPr/>
        </p:nvSpPr>
        <p:spPr>
          <a:xfrm>
            <a:off x="20772716" y="6702709"/>
            <a:ext cx="3402818" cy="519246"/>
          </a:xfrm>
          <a:prstGeom prst="rect">
            <a:avLst/>
          </a:prstGeom>
          <a:solidFill>
            <a:schemeClr val="bg1"/>
          </a:solidFill>
          <a:ln>
            <a:solidFill>
              <a:srgbClr val="FFC000"/>
            </a:solidFill>
          </a:ln>
        </p:spPr>
        <p:txBody>
          <a:bodyPr wrap="square" lIns="0" tIns="0" rIns="0" bIns="0" rtlCol="0" anchor="ctr">
            <a:noAutofit/>
          </a:bodyPr>
          <a:lstStyle/>
          <a:p>
            <a:pPr defTabSz="1828800" hangingPunct="1"/>
            <a:r>
              <a:rPr lang="en-US" sz="1800" kern="1200" dirty="0">
                <a:solidFill>
                  <a:srgbClr val="000000"/>
                </a:solidFill>
                <a:latin typeface="Arial"/>
                <a:cs typeface="Arial"/>
              </a:rPr>
              <a:t>FUNDING PENDING</a:t>
            </a:r>
          </a:p>
        </p:txBody>
      </p:sp>
      <p:sp>
        <p:nvSpPr>
          <p:cNvPr id="130" name="Rectangle 129">
            <a:extLst>
              <a:ext uri="{FF2B5EF4-FFF2-40B4-BE49-F238E27FC236}">
                <a16:creationId xmlns:a16="http://schemas.microsoft.com/office/drawing/2014/main" id="{426AB1CF-EA8B-D7CE-1262-8739BBA3B269}"/>
              </a:ext>
            </a:extLst>
          </p:cNvPr>
          <p:cNvSpPr/>
          <p:nvPr/>
        </p:nvSpPr>
        <p:spPr>
          <a:xfrm>
            <a:off x="20731186" y="7926417"/>
            <a:ext cx="3402818" cy="453780"/>
          </a:xfrm>
          <a:prstGeom prst="rect">
            <a:avLst/>
          </a:prstGeom>
          <a:solidFill>
            <a:schemeClr val="bg1"/>
          </a:solidFill>
          <a:ln>
            <a:solidFill>
              <a:srgbClr val="FFC000"/>
            </a:solidFill>
          </a:ln>
        </p:spPr>
        <p:txBody>
          <a:bodyPr wrap="square" lIns="0" tIns="0" rIns="0" bIns="0" rtlCol="0" anchor="ctr">
            <a:noAutofit/>
          </a:bodyPr>
          <a:lstStyle/>
          <a:p>
            <a:pPr defTabSz="1828800" hangingPunct="1"/>
            <a:r>
              <a:rPr lang="en-US" sz="1800" kern="1200" dirty="0">
                <a:solidFill>
                  <a:srgbClr val="000000"/>
                </a:solidFill>
                <a:latin typeface="Arial"/>
                <a:cs typeface="Arial"/>
              </a:rPr>
              <a:t>IN PROGRESS</a:t>
            </a:r>
          </a:p>
        </p:txBody>
      </p:sp>
      <p:sp>
        <p:nvSpPr>
          <p:cNvPr id="131" name="Rectangle 130">
            <a:extLst>
              <a:ext uri="{FF2B5EF4-FFF2-40B4-BE49-F238E27FC236}">
                <a16:creationId xmlns:a16="http://schemas.microsoft.com/office/drawing/2014/main" id="{C0B09907-76FF-7144-BABE-22DAA84A227C}"/>
              </a:ext>
            </a:extLst>
          </p:cNvPr>
          <p:cNvSpPr/>
          <p:nvPr/>
        </p:nvSpPr>
        <p:spPr>
          <a:xfrm>
            <a:off x="20731186" y="8476341"/>
            <a:ext cx="3402818" cy="453780"/>
          </a:xfrm>
          <a:prstGeom prst="rect">
            <a:avLst/>
          </a:prstGeom>
          <a:solidFill>
            <a:schemeClr val="bg1"/>
          </a:solidFill>
          <a:ln>
            <a:solidFill>
              <a:srgbClr val="FFC000"/>
            </a:solidFill>
          </a:ln>
        </p:spPr>
        <p:txBody>
          <a:bodyPr wrap="square" lIns="0" tIns="0" rIns="0" bIns="0" rtlCol="0" anchor="ctr">
            <a:noAutofit/>
          </a:bodyPr>
          <a:lstStyle/>
          <a:p>
            <a:pPr defTabSz="1828800" hangingPunct="1"/>
            <a:r>
              <a:rPr lang="en-US" sz="1800" kern="1200" dirty="0">
                <a:solidFill>
                  <a:srgbClr val="000000"/>
                </a:solidFill>
                <a:latin typeface="Arial"/>
                <a:cs typeface="Arial"/>
              </a:rPr>
              <a:t>EXECUTED</a:t>
            </a:r>
          </a:p>
        </p:txBody>
      </p:sp>
      <p:cxnSp>
        <p:nvCxnSpPr>
          <p:cNvPr id="132" name="Straight Arrow Connector 131">
            <a:extLst>
              <a:ext uri="{FF2B5EF4-FFF2-40B4-BE49-F238E27FC236}">
                <a16:creationId xmlns:a16="http://schemas.microsoft.com/office/drawing/2014/main" id="{10D78B9C-0BCD-DE03-C3AB-4F5034CB8D6C}"/>
              </a:ext>
            </a:extLst>
          </p:cNvPr>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pic>
        <p:nvPicPr>
          <p:cNvPr id="135" name="Picture 134">
            <a:extLst>
              <a:ext uri="{FF2B5EF4-FFF2-40B4-BE49-F238E27FC236}">
                <a16:creationId xmlns:a16="http://schemas.microsoft.com/office/drawing/2014/main" id="{19972417-CAFB-103A-79DA-DD112F00DABD}"/>
              </a:ext>
            </a:extLst>
          </p:cNvPr>
          <p:cNvPicPr>
            <a:picLocks noChangeAspect="1"/>
          </p:cNvPicPr>
          <p:nvPr/>
        </p:nvPicPr>
        <p:blipFill>
          <a:blip r:embed="rId7"/>
          <a:stretch>
            <a:fillRect/>
          </a:stretch>
        </p:blipFill>
        <p:spPr>
          <a:xfrm>
            <a:off x="4047622" y="11671899"/>
            <a:ext cx="1264158" cy="831202"/>
          </a:xfrm>
          <a:prstGeom prst="rect">
            <a:avLst/>
          </a:prstGeom>
          <a:solidFill>
            <a:srgbClr val="002060"/>
          </a:solidFill>
        </p:spPr>
      </p:pic>
      <p:grpSp>
        <p:nvGrpSpPr>
          <p:cNvPr id="148" name="Group 147">
            <a:extLst>
              <a:ext uri="{FF2B5EF4-FFF2-40B4-BE49-F238E27FC236}">
                <a16:creationId xmlns:a16="http://schemas.microsoft.com/office/drawing/2014/main" id="{2B10ED02-402F-9A57-6060-49BB0BD37AF5}"/>
              </a:ext>
            </a:extLst>
          </p:cNvPr>
          <p:cNvGrpSpPr/>
          <p:nvPr/>
        </p:nvGrpSpPr>
        <p:grpSpPr>
          <a:xfrm>
            <a:off x="19326534" y="10401804"/>
            <a:ext cx="5227302" cy="2470417"/>
            <a:chOff x="5795133" y="936916"/>
            <a:chExt cx="1960238" cy="980295"/>
          </a:xfrm>
        </p:grpSpPr>
        <p:cxnSp>
          <p:nvCxnSpPr>
            <p:cNvPr id="150" name="Straight Connector 149">
              <a:extLst>
                <a:ext uri="{FF2B5EF4-FFF2-40B4-BE49-F238E27FC236}">
                  <a16:creationId xmlns:a16="http://schemas.microsoft.com/office/drawing/2014/main" id="{BFF8670A-40BD-E499-0ECD-AA525851FF4B}"/>
                </a:ext>
              </a:extLst>
            </p:cNvPr>
            <p:cNvCxnSpPr/>
            <p:nvPr/>
          </p:nvCxnSpPr>
          <p:spPr>
            <a:xfrm>
              <a:off x="6118896" y="1871186"/>
              <a:ext cx="1636475" cy="0"/>
            </a:xfrm>
            <a:prstGeom prst="line">
              <a:avLst/>
            </a:prstGeom>
            <a:ln w="9525" cap="flat" cmpd="sng" algn="ctr">
              <a:solidFill>
                <a:srgbClr val="4589FF"/>
              </a:solidFill>
              <a:prstDash val="solid"/>
              <a:round/>
              <a:headEnd type="none" w="med" len="med"/>
              <a:tailEnd type="none" w="med" len="med"/>
            </a:ln>
          </p:spPr>
        </p:cxnSp>
        <p:sp>
          <p:nvSpPr>
            <p:cNvPr id="152" name="AutoShape 3">
              <a:extLst>
                <a:ext uri="{FF2B5EF4-FFF2-40B4-BE49-F238E27FC236}">
                  <a16:creationId xmlns:a16="http://schemas.microsoft.com/office/drawing/2014/main" id="{D7809CE7-2E7F-159E-2F03-4EBD0E2F4167}"/>
                </a:ext>
              </a:extLst>
            </p:cNvPr>
            <p:cNvSpPr>
              <a:spLocks noChangeAspect="1" noChangeArrowheads="1" noTextEdit="1"/>
            </p:cNvSpPr>
            <p:nvPr/>
          </p:nvSpPr>
          <p:spPr bwMode="auto">
            <a:xfrm>
              <a:off x="5795133" y="936916"/>
              <a:ext cx="980296" cy="980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grpSp>
      <p:grpSp>
        <p:nvGrpSpPr>
          <p:cNvPr id="154" name="Group 153">
            <a:extLst>
              <a:ext uri="{FF2B5EF4-FFF2-40B4-BE49-F238E27FC236}">
                <a16:creationId xmlns:a16="http://schemas.microsoft.com/office/drawing/2014/main" id="{034077F4-C669-86EC-FC79-38574BE28460}"/>
              </a:ext>
            </a:extLst>
          </p:cNvPr>
          <p:cNvGrpSpPr/>
          <p:nvPr/>
        </p:nvGrpSpPr>
        <p:grpSpPr>
          <a:xfrm>
            <a:off x="8906328" y="4984682"/>
            <a:ext cx="14845438" cy="8039548"/>
            <a:chOff x="3710027" y="936916"/>
            <a:chExt cx="6938210" cy="3929880"/>
          </a:xfrm>
        </p:grpSpPr>
        <p:cxnSp>
          <p:nvCxnSpPr>
            <p:cNvPr id="156" name="Straight Connector 155">
              <a:extLst>
                <a:ext uri="{FF2B5EF4-FFF2-40B4-BE49-F238E27FC236}">
                  <a16:creationId xmlns:a16="http://schemas.microsoft.com/office/drawing/2014/main" id="{278E80B2-A32C-D51F-B21B-B496D3941FC9}"/>
                </a:ext>
              </a:extLst>
            </p:cNvPr>
            <p:cNvCxnSpPr/>
            <p:nvPr/>
          </p:nvCxnSpPr>
          <p:spPr>
            <a:xfrm>
              <a:off x="3710027" y="2232547"/>
              <a:ext cx="1636475" cy="0"/>
            </a:xfrm>
            <a:prstGeom prst="line">
              <a:avLst/>
            </a:prstGeom>
            <a:ln w="9525" cap="flat" cmpd="sng" algn="ctr">
              <a:solidFill>
                <a:srgbClr val="4589FF"/>
              </a:solidFill>
              <a:prstDash val="solid"/>
              <a:round/>
              <a:headEnd type="none" w="med" len="med"/>
              <a:tailEnd type="none" w="med" len="med"/>
            </a:ln>
          </p:spPr>
        </p:cxnSp>
        <p:grpSp>
          <p:nvGrpSpPr>
            <p:cNvPr id="157" name="Group 156">
              <a:extLst>
                <a:ext uri="{FF2B5EF4-FFF2-40B4-BE49-F238E27FC236}">
                  <a16:creationId xmlns:a16="http://schemas.microsoft.com/office/drawing/2014/main" id="{F7AB3776-EB40-CDA3-96CE-8DD8F5920AB4}"/>
                </a:ext>
              </a:extLst>
            </p:cNvPr>
            <p:cNvGrpSpPr>
              <a:grpSpLocks noChangeAspect="1"/>
            </p:cNvGrpSpPr>
            <p:nvPr/>
          </p:nvGrpSpPr>
          <p:grpSpPr>
            <a:xfrm>
              <a:off x="4038115" y="936916"/>
              <a:ext cx="6610122" cy="3929880"/>
              <a:chOff x="5273675" y="2606675"/>
              <a:chExt cx="11089870" cy="6593196"/>
            </a:xfrm>
          </p:grpSpPr>
          <p:sp>
            <p:nvSpPr>
              <p:cNvPr id="158" name="AutoShape 9">
                <a:extLst>
                  <a:ext uri="{FF2B5EF4-FFF2-40B4-BE49-F238E27FC236}">
                    <a16:creationId xmlns:a16="http://schemas.microsoft.com/office/drawing/2014/main" id="{EC7931E5-AB96-C35C-3B87-27B4DB78BCD9}"/>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sp>
            <p:nvSpPr>
              <p:cNvPr id="159" name="Freeform 7">
                <a:extLst>
                  <a:ext uri="{FF2B5EF4-FFF2-40B4-BE49-F238E27FC236}">
                    <a16:creationId xmlns:a16="http://schemas.microsoft.com/office/drawing/2014/main" id="{52FAE71B-7134-947D-D40C-DB7486F03D4D}"/>
                  </a:ext>
                </a:extLst>
              </p:cNvPr>
              <p:cNvSpPr>
                <a:spLocks/>
              </p:cNvSpPr>
              <p:nvPr/>
            </p:nvSpPr>
            <p:spPr bwMode="auto">
              <a:xfrm>
                <a:off x="15373959" y="8157364"/>
                <a:ext cx="989586" cy="1042507"/>
              </a:xfrm>
              <a:custGeom>
                <a:avLst/>
                <a:gdLst>
                  <a:gd name="connsiteX0" fmla="*/ 384584 w 1170762"/>
                  <a:gd name="connsiteY0" fmla="*/ 986228 h 1171951"/>
                  <a:gd name="connsiteX1" fmla="*/ 395909 w 1170762"/>
                  <a:gd name="connsiteY1" fmla="*/ 991036 h 1171951"/>
                  <a:gd name="connsiteX2" fmla="*/ 395909 w 1170762"/>
                  <a:gd name="connsiteY2" fmla="*/ 1013119 h 1171951"/>
                  <a:gd name="connsiteX3" fmla="*/ 317438 w 1170762"/>
                  <a:gd name="connsiteY3" fmla="*/ 1090764 h 1171951"/>
                  <a:gd name="connsiteX4" fmla="*/ 306024 w 1170762"/>
                  <a:gd name="connsiteY4" fmla="*/ 1095750 h 1171951"/>
                  <a:gd name="connsiteX5" fmla="*/ 294610 w 1170762"/>
                  <a:gd name="connsiteY5" fmla="*/ 1090764 h 1171951"/>
                  <a:gd name="connsiteX6" fmla="*/ 294610 w 1170762"/>
                  <a:gd name="connsiteY6" fmla="*/ 1068681 h 1171951"/>
                  <a:gd name="connsiteX7" fmla="*/ 373795 w 1170762"/>
                  <a:gd name="connsiteY7" fmla="*/ 991036 h 1171951"/>
                  <a:gd name="connsiteX8" fmla="*/ 384584 w 1170762"/>
                  <a:gd name="connsiteY8" fmla="*/ 986228 h 1171951"/>
                  <a:gd name="connsiteX9" fmla="*/ 349709 w 1170762"/>
                  <a:gd name="connsiteY9" fmla="*/ 913026 h 1171951"/>
                  <a:gd name="connsiteX10" fmla="*/ 361001 w 1170762"/>
                  <a:gd name="connsiteY10" fmla="*/ 917305 h 1171951"/>
                  <a:gd name="connsiteX11" fmla="*/ 361001 w 1170762"/>
                  <a:gd name="connsiteY11" fmla="*/ 939410 h 1171951"/>
                  <a:gd name="connsiteX12" fmla="*/ 176068 w 1170762"/>
                  <a:gd name="connsiteY12" fmla="*/ 1124810 h 1171951"/>
                  <a:gd name="connsiteX13" fmla="*/ 164687 w 1170762"/>
                  <a:gd name="connsiteY13" fmla="*/ 1129088 h 1171951"/>
                  <a:gd name="connsiteX14" fmla="*/ 153307 w 1170762"/>
                  <a:gd name="connsiteY14" fmla="*/ 1124810 h 1171951"/>
                  <a:gd name="connsiteX15" fmla="*/ 153307 w 1170762"/>
                  <a:gd name="connsiteY15" fmla="*/ 1101991 h 1171951"/>
                  <a:gd name="connsiteX16" fmla="*/ 338951 w 1170762"/>
                  <a:gd name="connsiteY16" fmla="*/ 917305 h 1171951"/>
                  <a:gd name="connsiteX17" fmla="*/ 349709 w 1170762"/>
                  <a:gd name="connsiteY17" fmla="*/ 913026 h 1171951"/>
                  <a:gd name="connsiteX18" fmla="*/ 335240 w 1170762"/>
                  <a:gd name="connsiteY18" fmla="*/ 822542 h 1171951"/>
                  <a:gd name="connsiteX19" fmla="*/ 346683 w 1170762"/>
                  <a:gd name="connsiteY19" fmla="*/ 826829 h 1171951"/>
                  <a:gd name="connsiteX20" fmla="*/ 346683 w 1170762"/>
                  <a:gd name="connsiteY20" fmla="*/ 848980 h 1171951"/>
                  <a:gd name="connsiteX21" fmla="*/ 26998 w 1170762"/>
                  <a:gd name="connsiteY21" fmla="*/ 1166949 h 1171951"/>
                  <a:gd name="connsiteX22" fmla="*/ 15555 w 1170762"/>
                  <a:gd name="connsiteY22" fmla="*/ 1171951 h 1171951"/>
                  <a:gd name="connsiteX23" fmla="*/ 4827 w 1170762"/>
                  <a:gd name="connsiteY23" fmla="*/ 1166949 h 1171951"/>
                  <a:gd name="connsiteX24" fmla="*/ 4827 w 1170762"/>
                  <a:gd name="connsiteY24" fmla="*/ 1144799 h 1171951"/>
                  <a:gd name="connsiteX25" fmla="*/ 323797 w 1170762"/>
                  <a:gd name="connsiteY25" fmla="*/ 826829 h 1171951"/>
                  <a:gd name="connsiteX26" fmla="*/ 335240 w 1170762"/>
                  <a:gd name="connsiteY26" fmla="*/ 822542 h 1171951"/>
                  <a:gd name="connsiteX27" fmla="*/ 243224 w 1170762"/>
                  <a:gd name="connsiteY27" fmla="*/ 806674 h 1171951"/>
                  <a:gd name="connsiteX28" fmla="*/ 254598 w 1170762"/>
                  <a:gd name="connsiteY28" fmla="*/ 810984 h 1171951"/>
                  <a:gd name="connsiteX29" fmla="*/ 254598 w 1170762"/>
                  <a:gd name="connsiteY29" fmla="*/ 832532 h 1171951"/>
                  <a:gd name="connsiteX30" fmla="*/ 68323 w 1170762"/>
                  <a:gd name="connsiteY30" fmla="*/ 1020003 h 1171951"/>
                  <a:gd name="connsiteX31" fmla="*/ 56860 w 1170762"/>
                  <a:gd name="connsiteY31" fmla="*/ 1024313 h 1171951"/>
                  <a:gd name="connsiteX32" fmla="*/ 46114 w 1170762"/>
                  <a:gd name="connsiteY32" fmla="*/ 1020003 h 1171951"/>
                  <a:gd name="connsiteX33" fmla="*/ 46114 w 1170762"/>
                  <a:gd name="connsiteY33" fmla="*/ 997019 h 1171951"/>
                  <a:gd name="connsiteX34" fmla="*/ 232388 w 1170762"/>
                  <a:gd name="connsiteY34" fmla="*/ 810984 h 1171951"/>
                  <a:gd name="connsiteX35" fmla="*/ 243224 w 1170762"/>
                  <a:gd name="connsiteY35" fmla="*/ 806674 h 1171951"/>
                  <a:gd name="connsiteX36" fmla="*/ 169671 w 1170762"/>
                  <a:gd name="connsiteY36" fmla="*/ 773313 h 1171951"/>
                  <a:gd name="connsiteX37" fmla="*/ 180924 w 1170762"/>
                  <a:gd name="connsiteY37" fmla="*/ 777553 h 1171951"/>
                  <a:gd name="connsiteX38" fmla="*/ 180924 w 1170762"/>
                  <a:gd name="connsiteY38" fmla="*/ 799461 h 1171951"/>
                  <a:gd name="connsiteX39" fmla="*/ 102946 w 1170762"/>
                  <a:gd name="connsiteY39" fmla="*/ 877198 h 1171951"/>
                  <a:gd name="connsiteX40" fmla="*/ 91604 w 1170762"/>
                  <a:gd name="connsiteY40" fmla="*/ 881438 h 1171951"/>
                  <a:gd name="connsiteX41" fmla="*/ 80971 w 1170762"/>
                  <a:gd name="connsiteY41" fmla="*/ 877198 h 1171951"/>
                  <a:gd name="connsiteX42" fmla="*/ 80971 w 1170762"/>
                  <a:gd name="connsiteY42" fmla="*/ 854583 h 1171951"/>
                  <a:gd name="connsiteX43" fmla="*/ 158949 w 1170762"/>
                  <a:gd name="connsiteY43" fmla="*/ 777553 h 1171951"/>
                  <a:gd name="connsiteX44" fmla="*/ 169671 w 1170762"/>
                  <a:gd name="connsiteY44" fmla="*/ 773313 h 1171951"/>
                  <a:gd name="connsiteX45" fmla="*/ 792141 w 1170762"/>
                  <a:gd name="connsiteY45" fmla="*/ 692525 h 1171951"/>
                  <a:gd name="connsiteX46" fmla="*/ 741449 w 1170762"/>
                  <a:gd name="connsiteY46" fmla="*/ 911166 h 1171951"/>
                  <a:gd name="connsiteX47" fmla="*/ 737165 w 1170762"/>
                  <a:gd name="connsiteY47" fmla="*/ 919026 h 1171951"/>
                  <a:gd name="connsiteX48" fmla="*/ 562955 w 1170762"/>
                  <a:gd name="connsiteY48" fmla="*/ 1091939 h 1171951"/>
                  <a:gd name="connsiteX49" fmla="*/ 536537 w 1170762"/>
                  <a:gd name="connsiteY49" fmla="*/ 1084794 h 1171951"/>
                  <a:gd name="connsiteX50" fmla="*/ 507978 w 1170762"/>
                  <a:gd name="connsiteY50" fmla="*/ 975473 h 1171951"/>
                  <a:gd name="connsiteX51" fmla="*/ 792141 w 1170762"/>
                  <a:gd name="connsiteY51" fmla="*/ 692525 h 1171951"/>
                  <a:gd name="connsiteX52" fmla="*/ 480991 w 1170762"/>
                  <a:gd name="connsiteY52" fmla="*/ 382963 h 1171951"/>
                  <a:gd name="connsiteX53" fmla="*/ 197219 w 1170762"/>
                  <a:gd name="connsiteY53" fmla="*/ 663951 h 1171951"/>
                  <a:gd name="connsiteX54" fmla="*/ 87141 w 1170762"/>
                  <a:gd name="connsiteY54" fmla="*/ 635496 h 1171951"/>
                  <a:gd name="connsiteX55" fmla="*/ 79993 w 1170762"/>
                  <a:gd name="connsiteY55" fmla="*/ 609887 h 1171951"/>
                  <a:gd name="connsiteX56" fmla="*/ 253688 w 1170762"/>
                  <a:gd name="connsiteY56" fmla="*/ 437026 h 1171951"/>
                  <a:gd name="connsiteX57" fmla="*/ 261551 w 1170762"/>
                  <a:gd name="connsiteY57" fmla="*/ 432758 h 1171951"/>
                  <a:gd name="connsiteX58" fmla="*/ 480991 w 1170762"/>
                  <a:gd name="connsiteY58" fmla="*/ 382963 h 1171951"/>
                  <a:gd name="connsiteX59" fmla="*/ 777840 w 1170762"/>
                  <a:gd name="connsiteY59" fmla="*/ 146424 h 1171951"/>
                  <a:gd name="connsiteX60" fmla="*/ 798538 w 1170762"/>
                  <a:gd name="connsiteY60" fmla="*/ 154989 h 1171951"/>
                  <a:gd name="connsiteX61" fmla="*/ 840648 w 1170762"/>
                  <a:gd name="connsiteY61" fmla="*/ 172832 h 1171951"/>
                  <a:gd name="connsiteX62" fmla="*/ 949134 w 1170762"/>
                  <a:gd name="connsiteY62" fmla="*/ 255624 h 1171951"/>
                  <a:gd name="connsiteX63" fmla="*/ 1016938 w 1170762"/>
                  <a:gd name="connsiteY63" fmla="*/ 374103 h 1171951"/>
                  <a:gd name="connsiteX64" fmla="*/ 1025503 w 1170762"/>
                  <a:gd name="connsiteY64" fmla="*/ 397656 h 1171951"/>
                  <a:gd name="connsiteX65" fmla="*/ 490208 w 1170762"/>
                  <a:gd name="connsiteY65" fmla="*/ 932237 h 1171951"/>
                  <a:gd name="connsiteX66" fmla="*/ 239690 w 1170762"/>
                  <a:gd name="connsiteY66" fmla="*/ 684574 h 1171951"/>
                  <a:gd name="connsiteX67" fmla="*/ 777840 w 1170762"/>
                  <a:gd name="connsiteY67" fmla="*/ 146424 h 1171951"/>
                  <a:gd name="connsiteX68" fmla="*/ 1074438 w 1170762"/>
                  <a:gd name="connsiteY68" fmla="*/ 112 h 1171951"/>
                  <a:gd name="connsiteX69" fmla="*/ 1145016 w 1170762"/>
                  <a:gd name="connsiteY69" fmla="*/ 26065 h 1171951"/>
                  <a:gd name="connsiteX70" fmla="*/ 1064356 w 1170762"/>
                  <a:gd name="connsiteY70" fmla="*/ 354547 h 1171951"/>
                  <a:gd name="connsiteX71" fmla="*/ 1062928 w 1170762"/>
                  <a:gd name="connsiteY71" fmla="*/ 355975 h 1171951"/>
                  <a:gd name="connsiteX72" fmla="*/ 985838 w 1170762"/>
                  <a:gd name="connsiteY72" fmla="*/ 221726 h 1171951"/>
                  <a:gd name="connsiteX73" fmla="*/ 861636 w 1170762"/>
                  <a:gd name="connsiteY73" fmla="*/ 127466 h 1171951"/>
                  <a:gd name="connsiteX74" fmla="*/ 815952 w 1170762"/>
                  <a:gd name="connsiteY74" fmla="*/ 107471 h 1171951"/>
                  <a:gd name="connsiteX75" fmla="*/ 816666 w 1170762"/>
                  <a:gd name="connsiteY75" fmla="*/ 106757 h 1171951"/>
                  <a:gd name="connsiteX76" fmla="*/ 1074438 w 1170762"/>
                  <a:gd name="connsiteY76" fmla="*/ 112 h 117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170762" h="1171951">
                    <a:moveTo>
                      <a:pt x="384584" y="986228"/>
                    </a:moveTo>
                    <a:cubicBezTo>
                      <a:pt x="388597" y="986228"/>
                      <a:pt x="392699" y="987831"/>
                      <a:pt x="395909" y="991036"/>
                    </a:cubicBezTo>
                    <a:cubicBezTo>
                      <a:pt x="401616" y="997447"/>
                      <a:pt x="401616" y="1007420"/>
                      <a:pt x="395909" y="1013119"/>
                    </a:cubicBezTo>
                    <a:cubicBezTo>
                      <a:pt x="395909" y="1013119"/>
                      <a:pt x="395909" y="1013119"/>
                      <a:pt x="317438" y="1090764"/>
                    </a:cubicBezTo>
                    <a:cubicBezTo>
                      <a:pt x="313871" y="1094325"/>
                      <a:pt x="310304" y="1095750"/>
                      <a:pt x="306024" y="1095750"/>
                    </a:cubicBezTo>
                    <a:cubicBezTo>
                      <a:pt x="301744" y="1095750"/>
                      <a:pt x="298177" y="1094325"/>
                      <a:pt x="294610" y="1090764"/>
                    </a:cubicBezTo>
                    <a:cubicBezTo>
                      <a:pt x="288903" y="1085065"/>
                      <a:pt x="288903" y="1075092"/>
                      <a:pt x="294610" y="1068681"/>
                    </a:cubicBezTo>
                    <a:cubicBezTo>
                      <a:pt x="294610" y="1068681"/>
                      <a:pt x="294610" y="1068681"/>
                      <a:pt x="373795" y="991036"/>
                    </a:cubicBezTo>
                    <a:cubicBezTo>
                      <a:pt x="376648" y="987831"/>
                      <a:pt x="380572" y="986228"/>
                      <a:pt x="384584" y="986228"/>
                    </a:cubicBezTo>
                    <a:close/>
                    <a:moveTo>
                      <a:pt x="349709" y="913026"/>
                    </a:moveTo>
                    <a:cubicBezTo>
                      <a:pt x="353710" y="913026"/>
                      <a:pt x="357800" y="914452"/>
                      <a:pt x="361001" y="917305"/>
                    </a:cubicBezTo>
                    <a:cubicBezTo>
                      <a:pt x="366691" y="923722"/>
                      <a:pt x="366691" y="933705"/>
                      <a:pt x="361001" y="939410"/>
                    </a:cubicBezTo>
                    <a:cubicBezTo>
                      <a:pt x="361001" y="939410"/>
                      <a:pt x="361001" y="939410"/>
                      <a:pt x="176068" y="1124810"/>
                    </a:cubicBezTo>
                    <a:cubicBezTo>
                      <a:pt x="172511" y="1127662"/>
                      <a:pt x="168955" y="1129088"/>
                      <a:pt x="164687" y="1129088"/>
                    </a:cubicBezTo>
                    <a:cubicBezTo>
                      <a:pt x="160419" y="1129088"/>
                      <a:pt x="156863" y="1127662"/>
                      <a:pt x="153307" y="1124810"/>
                    </a:cubicBezTo>
                    <a:cubicBezTo>
                      <a:pt x="147616" y="1118392"/>
                      <a:pt x="147616" y="1108409"/>
                      <a:pt x="153307" y="1101991"/>
                    </a:cubicBezTo>
                    <a:cubicBezTo>
                      <a:pt x="153307" y="1101991"/>
                      <a:pt x="153307" y="1101991"/>
                      <a:pt x="338951" y="917305"/>
                    </a:cubicBezTo>
                    <a:cubicBezTo>
                      <a:pt x="341796" y="914452"/>
                      <a:pt x="345708" y="913026"/>
                      <a:pt x="349709" y="913026"/>
                    </a:cubicBezTo>
                    <a:close/>
                    <a:moveTo>
                      <a:pt x="335240" y="822542"/>
                    </a:moveTo>
                    <a:cubicBezTo>
                      <a:pt x="339352" y="822542"/>
                      <a:pt x="343465" y="823971"/>
                      <a:pt x="346683" y="826829"/>
                    </a:cubicBezTo>
                    <a:cubicBezTo>
                      <a:pt x="352404" y="832545"/>
                      <a:pt x="352404" y="842549"/>
                      <a:pt x="346683" y="848980"/>
                    </a:cubicBezTo>
                    <a:cubicBezTo>
                      <a:pt x="346683" y="848980"/>
                      <a:pt x="346683" y="848980"/>
                      <a:pt x="26998" y="1166949"/>
                    </a:cubicBezTo>
                    <a:cubicBezTo>
                      <a:pt x="23422" y="1170522"/>
                      <a:pt x="19846" y="1171951"/>
                      <a:pt x="15555" y="1171951"/>
                    </a:cubicBezTo>
                    <a:cubicBezTo>
                      <a:pt x="11264" y="1171951"/>
                      <a:pt x="7688" y="1170522"/>
                      <a:pt x="4827" y="1166949"/>
                    </a:cubicBezTo>
                    <a:cubicBezTo>
                      <a:pt x="-1609" y="1161233"/>
                      <a:pt x="-1609" y="1151230"/>
                      <a:pt x="4827" y="1144799"/>
                    </a:cubicBezTo>
                    <a:cubicBezTo>
                      <a:pt x="4827" y="1144799"/>
                      <a:pt x="4827" y="1144799"/>
                      <a:pt x="323797" y="826829"/>
                    </a:cubicBezTo>
                    <a:cubicBezTo>
                      <a:pt x="327016" y="823971"/>
                      <a:pt x="331128" y="822542"/>
                      <a:pt x="335240" y="822542"/>
                    </a:cubicBezTo>
                    <a:close/>
                    <a:moveTo>
                      <a:pt x="243224" y="806674"/>
                    </a:moveTo>
                    <a:cubicBezTo>
                      <a:pt x="247254" y="806674"/>
                      <a:pt x="251374" y="808111"/>
                      <a:pt x="254598" y="810984"/>
                    </a:cubicBezTo>
                    <a:cubicBezTo>
                      <a:pt x="260329" y="817449"/>
                      <a:pt x="260329" y="827505"/>
                      <a:pt x="254598" y="832532"/>
                    </a:cubicBezTo>
                    <a:cubicBezTo>
                      <a:pt x="254598" y="832532"/>
                      <a:pt x="254598" y="832532"/>
                      <a:pt x="68323" y="1020003"/>
                    </a:cubicBezTo>
                    <a:cubicBezTo>
                      <a:pt x="64741" y="1022877"/>
                      <a:pt x="61159" y="1024313"/>
                      <a:pt x="56860" y="1024313"/>
                    </a:cubicBezTo>
                    <a:cubicBezTo>
                      <a:pt x="52562" y="1024313"/>
                      <a:pt x="48979" y="1022877"/>
                      <a:pt x="46114" y="1020003"/>
                    </a:cubicBezTo>
                    <a:cubicBezTo>
                      <a:pt x="39666" y="1013539"/>
                      <a:pt x="39666" y="1003483"/>
                      <a:pt x="46114" y="997019"/>
                    </a:cubicBezTo>
                    <a:cubicBezTo>
                      <a:pt x="46114" y="997019"/>
                      <a:pt x="46114" y="997019"/>
                      <a:pt x="232388" y="810984"/>
                    </a:cubicBezTo>
                    <a:cubicBezTo>
                      <a:pt x="235254" y="808111"/>
                      <a:pt x="239194" y="806674"/>
                      <a:pt x="243224" y="806674"/>
                    </a:cubicBezTo>
                    <a:close/>
                    <a:moveTo>
                      <a:pt x="169671" y="773313"/>
                    </a:moveTo>
                    <a:cubicBezTo>
                      <a:pt x="173658" y="773313"/>
                      <a:pt x="177734" y="774727"/>
                      <a:pt x="180924" y="777553"/>
                    </a:cubicBezTo>
                    <a:cubicBezTo>
                      <a:pt x="187304" y="783914"/>
                      <a:pt x="187304" y="793807"/>
                      <a:pt x="180924" y="799461"/>
                    </a:cubicBezTo>
                    <a:cubicBezTo>
                      <a:pt x="180924" y="799461"/>
                      <a:pt x="180924" y="799461"/>
                      <a:pt x="102946" y="877198"/>
                    </a:cubicBezTo>
                    <a:cubicBezTo>
                      <a:pt x="99402" y="880024"/>
                      <a:pt x="95857" y="881438"/>
                      <a:pt x="91604" y="881438"/>
                    </a:cubicBezTo>
                    <a:cubicBezTo>
                      <a:pt x="88060" y="881438"/>
                      <a:pt x="83806" y="880024"/>
                      <a:pt x="80971" y="877198"/>
                    </a:cubicBezTo>
                    <a:cubicBezTo>
                      <a:pt x="74591" y="870837"/>
                      <a:pt x="74591" y="860944"/>
                      <a:pt x="80971" y="854583"/>
                    </a:cubicBezTo>
                    <a:cubicBezTo>
                      <a:pt x="80971" y="854583"/>
                      <a:pt x="80971" y="854583"/>
                      <a:pt x="158949" y="777553"/>
                    </a:cubicBezTo>
                    <a:cubicBezTo>
                      <a:pt x="161784" y="774727"/>
                      <a:pt x="165683" y="773313"/>
                      <a:pt x="169671" y="773313"/>
                    </a:cubicBezTo>
                    <a:close/>
                    <a:moveTo>
                      <a:pt x="792141" y="692525"/>
                    </a:moveTo>
                    <a:cubicBezTo>
                      <a:pt x="741449" y="911166"/>
                      <a:pt x="741449" y="911166"/>
                      <a:pt x="741449" y="911166"/>
                    </a:cubicBezTo>
                    <a:cubicBezTo>
                      <a:pt x="740735" y="914025"/>
                      <a:pt x="739307" y="916883"/>
                      <a:pt x="737165" y="919026"/>
                    </a:cubicBezTo>
                    <a:cubicBezTo>
                      <a:pt x="562955" y="1091939"/>
                      <a:pt x="562955" y="1091939"/>
                      <a:pt x="562955" y="1091939"/>
                    </a:cubicBezTo>
                    <a:cubicBezTo>
                      <a:pt x="554387" y="1100513"/>
                      <a:pt x="540107" y="1096226"/>
                      <a:pt x="536537" y="1084794"/>
                    </a:cubicBezTo>
                    <a:cubicBezTo>
                      <a:pt x="507978" y="975473"/>
                      <a:pt x="507978" y="975473"/>
                      <a:pt x="507978" y="975473"/>
                    </a:cubicBezTo>
                    <a:cubicBezTo>
                      <a:pt x="792141" y="692525"/>
                      <a:pt x="792141" y="692525"/>
                      <a:pt x="792141" y="692525"/>
                    </a:cubicBezTo>
                    <a:close/>
                    <a:moveTo>
                      <a:pt x="480991" y="382963"/>
                    </a:moveTo>
                    <a:cubicBezTo>
                      <a:pt x="480991" y="382963"/>
                      <a:pt x="480991" y="382963"/>
                      <a:pt x="197219" y="663951"/>
                    </a:cubicBezTo>
                    <a:cubicBezTo>
                      <a:pt x="197219" y="663951"/>
                      <a:pt x="197219" y="663951"/>
                      <a:pt x="87141" y="635496"/>
                    </a:cubicBezTo>
                    <a:cubicBezTo>
                      <a:pt x="75704" y="631940"/>
                      <a:pt x="71416" y="618424"/>
                      <a:pt x="79993" y="609887"/>
                    </a:cubicBezTo>
                    <a:cubicBezTo>
                      <a:pt x="79993" y="609887"/>
                      <a:pt x="79993" y="609887"/>
                      <a:pt x="253688" y="437026"/>
                    </a:cubicBezTo>
                    <a:cubicBezTo>
                      <a:pt x="255832" y="434892"/>
                      <a:pt x="258691" y="433470"/>
                      <a:pt x="261551" y="432758"/>
                    </a:cubicBezTo>
                    <a:cubicBezTo>
                      <a:pt x="261551" y="432758"/>
                      <a:pt x="261551" y="432758"/>
                      <a:pt x="480991" y="382963"/>
                    </a:cubicBezTo>
                    <a:close/>
                    <a:moveTo>
                      <a:pt x="777840" y="146424"/>
                    </a:moveTo>
                    <a:cubicBezTo>
                      <a:pt x="777840" y="146424"/>
                      <a:pt x="777840" y="146424"/>
                      <a:pt x="798538" y="154989"/>
                    </a:cubicBezTo>
                    <a:cubicBezTo>
                      <a:pt x="811385" y="159985"/>
                      <a:pt x="824946" y="165695"/>
                      <a:pt x="840648" y="172832"/>
                    </a:cubicBezTo>
                    <a:cubicBezTo>
                      <a:pt x="869197" y="187820"/>
                      <a:pt x="912021" y="214228"/>
                      <a:pt x="949134" y="255624"/>
                    </a:cubicBezTo>
                    <a:cubicBezTo>
                      <a:pt x="975542" y="287742"/>
                      <a:pt x="998382" y="326997"/>
                      <a:pt x="1016938" y="374103"/>
                    </a:cubicBezTo>
                    <a:cubicBezTo>
                      <a:pt x="1016938" y="374103"/>
                      <a:pt x="1016938" y="374103"/>
                      <a:pt x="1025503" y="397656"/>
                    </a:cubicBezTo>
                    <a:cubicBezTo>
                      <a:pt x="1025503" y="397656"/>
                      <a:pt x="1025503" y="397656"/>
                      <a:pt x="490208" y="932237"/>
                    </a:cubicBezTo>
                    <a:cubicBezTo>
                      <a:pt x="424545" y="800198"/>
                      <a:pt x="303211" y="720260"/>
                      <a:pt x="239690" y="684574"/>
                    </a:cubicBezTo>
                    <a:cubicBezTo>
                      <a:pt x="239690" y="684574"/>
                      <a:pt x="239690" y="684574"/>
                      <a:pt x="777840" y="146424"/>
                    </a:cubicBezTo>
                    <a:close/>
                    <a:moveTo>
                      <a:pt x="1074438" y="112"/>
                    </a:moveTo>
                    <a:cubicBezTo>
                      <a:pt x="1103080" y="1116"/>
                      <a:pt x="1127884" y="8927"/>
                      <a:pt x="1145016" y="26065"/>
                    </a:cubicBezTo>
                    <a:cubicBezTo>
                      <a:pt x="1212827" y="94618"/>
                      <a:pt x="1132881" y="285994"/>
                      <a:pt x="1064356" y="354547"/>
                    </a:cubicBezTo>
                    <a:cubicBezTo>
                      <a:pt x="1062928" y="355975"/>
                      <a:pt x="1062928" y="355975"/>
                      <a:pt x="1062928" y="355975"/>
                    </a:cubicBezTo>
                    <a:cubicBezTo>
                      <a:pt x="1048652" y="319556"/>
                      <a:pt x="1024383" y="268142"/>
                      <a:pt x="985838" y="221726"/>
                    </a:cubicBezTo>
                    <a:cubicBezTo>
                      <a:pt x="943723" y="175310"/>
                      <a:pt x="895898" y="144604"/>
                      <a:pt x="861636" y="127466"/>
                    </a:cubicBezTo>
                    <a:cubicBezTo>
                      <a:pt x="845218" y="118897"/>
                      <a:pt x="829515" y="112470"/>
                      <a:pt x="815952" y="107471"/>
                    </a:cubicBezTo>
                    <a:cubicBezTo>
                      <a:pt x="816666" y="106757"/>
                      <a:pt x="816666" y="106757"/>
                      <a:pt x="816666" y="106757"/>
                    </a:cubicBezTo>
                    <a:cubicBezTo>
                      <a:pt x="868060" y="55343"/>
                      <a:pt x="988514" y="-2900"/>
                      <a:pt x="1074438" y="112"/>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grpSp>
      </p:grpSp>
      <p:pic>
        <p:nvPicPr>
          <p:cNvPr id="136" name="Picture 135">
            <a:extLst>
              <a:ext uri="{FF2B5EF4-FFF2-40B4-BE49-F238E27FC236}">
                <a16:creationId xmlns:a16="http://schemas.microsoft.com/office/drawing/2014/main" id="{5FEB2BE9-702C-029C-1B03-85E843452A39}"/>
              </a:ext>
            </a:extLst>
          </p:cNvPr>
          <p:cNvPicPr>
            <a:picLocks noChangeAspect="1"/>
          </p:cNvPicPr>
          <p:nvPr/>
        </p:nvPicPr>
        <p:blipFill>
          <a:blip r:embed="rId8"/>
          <a:stretch>
            <a:fillRect/>
          </a:stretch>
        </p:blipFill>
        <p:spPr>
          <a:xfrm>
            <a:off x="4528685" y="6024067"/>
            <a:ext cx="477725" cy="830829"/>
          </a:xfrm>
          <a:prstGeom prst="rect">
            <a:avLst/>
          </a:prstGeom>
        </p:spPr>
      </p:pic>
      <p:pic>
        <p:nvPicPr>
          <p:cNvPr id="173" name="Picture 172">
            <a:extLst>
              <a:ext uri="{FF2B5EF4-FFF2-40B4-BE49-F238E27FC236}">
                <a16:creationId xmlns:a16="http://schemas.microsoft.com/office/drawing/2014/main" id="{F1427299-8335-8362-B5E2-9C53F85C671D}"/>
              </a:ext>
            </a:extLst>
          </p:cNvPr>
          <p:cNvPicPr>
            <a:picLocks noChangeAspect="1"/>
          </p:cNvPicPr>
          <p:nvPr/>
        </p:nvPicPr>
        <p:blipFill>
          <a:blip r:embed="rId9"/>
          <a:stretch>
            <a:fillRect/>
          </a:stretch>
        </p:blipFill>
        <p:spPr>
          <a:xfrm>
            <a:off x="1917601" y="9014986"/>
            <a:ext cx="1259026" cy="1030464"/>
          </a:xfrm>
          <a:prstGeom prst="rect">
            <a:avLst/>
          </a:prstGeom>
        </p:spPr>
      </p:pic>
      <p:pic>
        <p:nvPicPr>
          <p:cNvPr id="174" name="Picture 173">
            <a:extLst>
              <a:ext uri="{FF2B5EF4-FFF2-40B4-BE49-F238E27FC236}">
                <a16:creationId xmlns:a16="http://schemas.microsoft.com/office/drawing/2014/main" id="{ED96CB42-B6DA-CE7E-F048-70525419846E}"/>
              </a:ext>
            </a:extLst>
          </p:cNvPr>
          <p:cNvPicPr>
            <a:picLocks noChangeAspect="1"/>
          </p:cNvPicPr>
          <p:nvPr/>
        </p:nvPicPr>
        <p:blipFill>
          <a:blip r:embed="rId10"/>
          <a:stretch>
            <a:fillRect/>
          </a:stretch>
        </p:blipFill>
        <p:spPr>
          <a:xfrm>
            <a:off x="2007454" y="10045450"/>
            <a:ext cx="956816" cy="904430"/>
          </a:xfrm>
          <a:prstGeom prst="rect">
            <a:avLst/>
          </a:prstGeom>
        </p:spPr>
      </p:pic>
      <p:pic>
        <p:nvPicPr>
          <p:cNvPr id="175" name="Picture 174">
            <a:extLst>
              <a:ext uri="{FF2B5EF4-FFF2-40B4-BE49-F238E27FC236}">
                <a16:creationId xmlns:a16="http://schemas.microsoft.com/office/drawing/2014/main" id="{DD76D812-B94E-ADB9-BAEF-71223AC25C0F}"/>
              </a:ext>
            </a:extLst>
          </p:cNvPr>
          <p:cNvPicPr>
            <a:picLocks noChangeAspect="1"/>
          </p:cNvPicPr>
          <p:nvPr/>
        </p:nvPicPr>
        <p:blipFill>
          <a:blip r:embed="rId11"/>
          <a:stretch>
            <a:fillRect/>
          </a:stretch>
        </p:blipFill>
        <p:spPr>
          <a:xfrm>
            <a:off x="3091663" y="9060306"/>
            <a:ext cx="1029639" cy="927758"/>
          </a:xfrm>
          <a:prstGeom prst="rect">
            <a:avLst/>
          </a:prstGeom>
        </p:spPr>
      </p:pic>
      <p:pic>
        <p:nvPicPr>
          <p:cNvPr id="176" name="Picture 175">
            <a:extLst>
              <a:ext uri="{FF2B5EF4-FFF2-40B4-BE49-F238E27FC236}">
                <a16:creationId xmlns:a16="http://schemas.microsoft.com/office/drawing/2014/main" id="{A08F4177-D936-736C-BB87-48084EF3072E}"/>
              </a:ext>
            </a:extLst>
          </p:cNvPr>
          <p:cNvPicPr>
            <a:picLocks noChangeAspect="1"/>
          </p:cNvPicPr>
          <p:nvPr/>
        </p:nvPicPr>
        <p:blipFill>
          <a:blip r:embed="rId12"/>
          <a:stretch>
            <a:fillRect/>
          </a:stretch>
        </p:blipFill>
        <p:spPr>
          <a:xfrm>
            <a:off x="3112053" y="9978116"/>
            <a:ext cx="1131425" cy="1004384"/>
          </a:xfrm>
          <a:prstGeom prst="rect">
            <a:avLst/>
          </a:prstGeom>
        </p:spPr>
      </p:pic>
      <p:pic>
        <p:nvPicPr>
          <p:cNvPr id="177" name="Picture 176">
            <a:extLst>
              <a:ext uri="{FF2B5EF4-FFF2-40B4-BE49-F238E27FC236}">
                <a16:creationId xmlns:a16="http://schemas.microsoft.com/office/drawing/2014/main" id="{6DC70D1A-4C33-2CDB-76E5-0C7736CB4639}"/>
              </a:ext>
            </a:extLst>
          </p:cNvPr>
          <p:cNvPicPr>
            <a:picLocks noChangeAspect="1"/>
          </p:cNvPicPr>
          <p:nvPr/>
        </p:nvPicPr>
        <p:blipFill>
          <a:blip r:embed="rId13"/>
          <a:stretch>
            <a:fillRect/>
          </a:stretch>
        </p:blipFill>
        <p:spPr>
          <a:xfrm>
            <a:off x="1649254" y="7813941"/>
            <a:ext cx="2625227" cy="1151202"/>
          </a:xfrm>
          <a:prstGeom prst="rect">
            <a:avLst/>
          </a:prstGeom>
        </p:spPr>
      </p:pic>
      <p:pic>
        <p:nvPicPr>
          <p:cNvPr id="137" name="Picture 136">
            <a:extLst>
              <a:ext uri="{FF2B5EF4-FFF2-40B4-BE49-F238E27FC236}">
                <a16:creationId xmlns:a16="http://schemas.microsoft.com/office/drawing/2014/main" id="{992A90EF-AC81-5BE5-EB9B-5D9A0CF2F10B}"/>
              </a:ext>
            </a:extLst>
          </p:cNvPr>
          <p:cNvPicPr>
            <a:picLocks noChangeAspect="1"/>
          </p:cNvPicPr>
          <p:nvPr/>
        </p:nvPicPr>
        <p:blipFill>
          <a:blip r:embed="rId14"/>
          <a:stretch>
            <a:fillRect/>
          </a:stretch>
        </p:blipFill>
        <p:spPr>
          <a:xfrm>
            <a:off x="3937665" y="11087584"/>
            <a:ext cx="1524331" cy="555347"/>
          </a:xfrm>
          <a:prstGeom prst="rect">
            <a:avLst/>
          </a:prstGeom>
        </p:spPr>
      </p:pic>
      <p:sp>
        <p:nvSpPr>
          <p:cNvPr id="26" name="TextBox 25">
            <a:extLst>
              <a:ext uri="{FF2B5EF4-FFF2-40B4-BE49-F238E27FC236}">
                <a16:creationId xmlns:a16="http://schemas.microsoft.com/office/drawing/2014/main" id="{1142B718-F4C2-55BE-F850-8250E25B5F32}"/>
              </a:ext>
            </a:extLst>
          </p:cNvPr>
          <p:cNvSpPr txBox="1"/>
          <p:nvPr/>
        </p:nvSpPr>
        <p:spPr>
          <a:xfrm>
            <a:off x="4324273" y="6892928"/>
            <a:ext cx="824335" cy="461665"/>
          </a:xfrm>
          <a:prstGeom prst="rect">
            <a:avLst/>
          </a:prstGeom>
          <a:solidFill>
            <a:schemeClr val="bg1"/>
          </a:solidFill>
        </p:spPr>
        <p:txBody>
          <a:bodyPr wrap="square" rtlCol="0">
            <a:spAutoFit/>
          </a:bodyPr>
          <a:lstStyle/>
          <a:p>
            <a:r>
              <a:rPr lang="en-US" b="1" dirty="0">
                <a:solidFill>
                  <a:schemeClr val="tx1"/>
                </a:solidFill>
                <a:latin typeface="IBM Plex Sans" charset="0"/>
                <a:ea typeface="IBM Plex Sans" charset="0"/>
                <a:cs typeface="IBM Plex Sans" charset="0"/>
              </a:rPr>
              <a:t>CSM</a:t>
            </a:r>
          </a:p>
        </p:txBody>
      </p:sp>
      <p:sp>
        <p:nvSpPr>
          <p:cNvPr id="183" name="TextBox 182">
            <a:extLst>
              <a:ext uri="{FF2B5EF4-FFF2-40B4-BE49-F238E27FC236}">
                <a16:creationId xmlns:a16="http://schemas.microsoft.com/office/drawing/2014/main" id="{B70F4445-35D0-1D60-190E-873BBCF229EC}"/>
              </a:ext>
            </a:extLst>
          </p:cNvPr>
          <p:cNvSpPr txBox="1"/>
          <p:nvPr/>
        </p:nvSpPr>
        <p:spPr>
          <a:xfrm>
            <a:off x="5382666" y="11214974"/>
            <a:ext cx="8264975" cy="400110"/>
          </a:xfrm>
          <a:prstGeom prst="rect">
            <a:avLst/>
          </a:prstGeom>
          <a:noFill/>
        </p:spPr>
        <p:txBody>
          <a:bodyPr wrap="square" rtlCol="0">
            <a:spAutoFit/>
          </a:bodyPr>
          <a:lstStyle/>
          <a:p>
            <a:r>
              <a:rPr lang="en-US" sz="2000" b="1" dirty="0">
                <a:solidFill>
                  <a:srgbClr val="FFC000"/>
                </a:solidFill>
                <a:latin typeface="IBM Plex Sans" charset="0"/>
                <a:ea typeface="IBM Plex Sans" charset="0"/>
                <a:cs typeface="IBM Plex Sans" charset="0"/>
              </a:rPr>
              <a:t>CONTINUOUS  INVESTMENT WITH IBM CUSTOMER SUCCSS</a:t>
            </a:r>
          </a:p>
        </p:txBody>
      </p:sp>
      <p:grpSp>
        <p:nvGrpSpPr>
          <p:cNvPr id="186" name="Group 185">
            <a:extLst>
              <a:ext uri="{FF2B5EF4-FFF2-40B4-BE49-F238E27FC236}">
                <a16:creationId xmlns:a16="http://schemas.microsoft.com/office/drawing/2014/main" id="{6407E2DC-A22E-BB58-A79F-681F3EFB772B}"/>
              </a:ext>
            </a:extLst>
          </p:cNvPr>
          <p:cNvGrpSpPr/>
          <p:nvPr/>
        </p:nvGrpSpPr>
        <p:grpSpPr>
          <a:xfrm>
            <a:off x="-455883" y="11758427"/>
            <a:ext cx="3941767" cy="3455016"/>
            <a:chOff x="195990" y="936916"/>
            <a:chExt cx="1636475" cy="1295631"/>
          </a:xfrm>
        </p:grpSpPr>
        <p:cxnSp>
          <p:nvCxnSpPr>
            <p:cNvPr id="188" name="Straight Connector 187">
              <a:extLst>
                <a:ext uri="{FF2B5EF4-FFF2-40B4-BE49-F238E27FC236}">
                  <a16:creationId xmlns:a16="http://schemas.microsoft.com/office/drawing/2014/main" id="{8E849FF6-9C16-D68C-D6D3-EB19657EA971}"/>
                </a:ext>
              </a:extLst>
            </p:cNvPr>
            <p:cNvCxnSpPr>
              <a:cxnSpLocks/>
            </p:cNvCxnSpPr>
            <p:nvPr/>
          </p:nvCxnSpPr>
          <p:spPr>
            <a:xfrm>
              <a:off x="195990" y="2232547"/>
              <a:ext cx="1636475" cy="0"/>
            </a:xfrm>
            <a:prstGeom prst="line">
              <a:avLst/>
            </a:prstGeom>
            <a:ln w="0" cap="flat" cmpd="sng" algn="ctr">
              <a:solidFill>
                <a:srgbClr val="4589FF"/>
              </a:solidFill>
              <a:prstDash val="solid"/>
              <a:round/>
              <a:headEnd type="none" w="med" len="med"/>
              <a:tailEnd type="none" w="med" len="med"/>
            </a:ln>
          </p:spPr>
        </p:cxnSp>
        <p:sp>
          <p:nvSpPr>
            <p:cNvPr id="190" name="AutoShape 3">
              <a:extLst>
                <a:ext uri="{FF2B5EF4-FFF2-40B4-BE49-F238E27FC236}">
                  <a16:creationId xmlns:a16="http://schemas.microsoft.com/office/drawing/2014/main" id="{792838B7-18CF-70F2-8232-344254F3FD31}"/>
                </a:ext>
              </a:extLst>
            </p:cNvPr>
            <p:cNvSpPr>
              <a:spLocks noChangeAspect="1" noChangeArrowheads="1" noTextEdit="1"/>
            </p:cNvSpPr>
            <p:nvPr/>
          </p:nvSpPr>
          <p:spPr bwMode="auto">
            <a:xfrm>
              <a:off x="524074" y="936916"/>
              <a:ext cx="980294" cy="980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grpSp>
      <p:pic>
        <p:nvPicPr>
          <p:cNvPr id="185" name="Picture 184">
            <a:extLst>
              <a:ext uri="{FF2B5EF4-FFF2-40B4-BE49-F238E27FC236}">
                <a16:creationId xmlns:a16="http://schemas.microsoft.com/office/drawing/2014/main" id="{5F0E3A11-399B-2BC9-5DAB-CEFC99F995E9}"/>
              </a:ext>
            </a:extLst>
          </p:cNvPr>
          <p:cNvPicPr>
            <a:picLocks noChangeAspect="1"/>
          </p:cNvPicPr>
          <p:nvPr/>
        </p:nvPicPr>
        <p:blipFill>
          <a:blip r:embed="rId15"/>
          <a:stretch>
            <a:fillRect/>
          </a:stretch>
        </p:blipFill>
        <p:spPr>
          <a:xfrm>
            <a:off x="12983272" y="5613862"/>
            <a:ext cx="2532441" cy="1814556"/>
          </a:xfrm>
          <a:prstGeom prst="rect">
            <a:avLst/>
          </a:prstGeom>
        </p:spPr>
      </p:pic>
      <p:sp>
        <p:nvSpPr>
          <p:cNvPr id="66" name="Rounded Rectangle 65">
            <a:extLst>
              <a:ext uri="{FF2B5EF4-FFF2-40B4-BE49-F238E27FC236}">
                <a16:creationId xmlns:a16="http://schemas.microsoft.com/office/drawing/2014/main" id="{471A2D9E-6900-DC8F-5C55-2E49A70C427F}"/>
              </a:ext>
            </a:extLst>
          </p:cNvPr>
          <p:cNvSpPr/>
          <p:nvPr/>
        </p:nvSpPr>
        <p:spPr>
          <a:xfrm>
            <a:off x="889688" y="3018025"/>
            <a:ext cx="24027319" cy="2362629"/>
          </a:xfrm>
          <a:prstGeom prst="roundRect">
            <a:avLst/>
          </a:prstGeom>
          <a:ln w="44450">
            <a:solidFill>
              <a:schemeClr val="bg2"/>
            </a:solidFill>
            <a:prstDash val="sysDot"/>
          </a:ln>
        </p:spPr>
        <p:txBody>
          <a:bodyPr wrap="square" lIns="0" tIns="0" rIns="0" bIns="0" rtlCol="0" anchor="ctr">
            <a:noAutofit/>
          </a:bodyPr>
          <a:lstStyle/>
          <a:p>
            <a:pPr defTabSz="1828800" hangingPunct="1"/>
            <a:endParaRPr lang="en-US" kern="1200" dirty="0" err="1">
              <a:solidFill>
                <a:srgbClr val="FFFFFF"/>
              </a:solidFill>
              <a:latin typeface="Arial"/>
              <a:cs typeface="Arial"/>
            </a:endParaRPr>
          </a:p>
        </p:txBody>
      </p:sp>
      <p:pic>
        <p:nvPicPr>
          <p:cNvPr id="172" name="Picture 171">
            <a:extLst>
              <a:ext uri="{FF2B5EF4-FFF2-40B4-BE49-F238E27FC236}">
                <a16:creationId xmlns:a16="http://schemas.microsoft.com/office/drawing/2014/main" id="{08FB1A58-59B2-2D9D-0BBC-858FC0A78E9C}"/>
              </a:ext>
            </a:extLst>
          </p:cNvPr>
          <p:cNvPicPr>
            <a:picLocks noChangeAspect="1"/>
          </p:cNvPicPr>
          <p:nvPr/>
        </p:nvPicPr>
        <p:blipFill>
          <a:blip r:embed="rId16"/>
          <a:stretch>
            <a:fillRect/>
          </a:stretch>
        </p:blipFill>
        <p:spPr>
          <a:xfrm>
            <a:off x="660046" y="4701576"/>
            <a:ext cx="1394673" cy="1111953"/>
          </a:xfrm>
          <a:prstGeom prst="rect">
            <a:avLst/>
          </a:prstGeom>
        </p:spPr>
      </p:pic>
      <p:pic>
        <p:nvPicPr>
          <p:cNvPr id="70" name="Picture 69">
            <a:extLst>
              <a:ext uri="{FF2B5EF4-FFF2-40B4-BE49-F238E27FC236}">
                <a16:creationId xmlns:a16="http://schemas.microsoft.com/office/drawing/2014/main" id="{0903369F-F93A-21CE-701C-C136623966C7}"/>
              </a:ext>
            </a:extLst>
          </p:cNvPr>
          <p:cNvPicPr>
            <a:picLocks noChangeAspect="1"/>
          </p:cNvPicPr>
          <p:nvPr/>
        </p:nvPicPr>
        <p:blipFill>
          <a:blip r:embed="rId16"/>
          <a:stretch>
            <a:fillRect/>
          </a:stretch>
        </p:blipFill>
        <p:spPr>
          <a:xfrm>
            <a:off x="19211457" y="164108"/>
            <a:ext cx="1460259" cy="1096701"/>
          </a:xfrm>
          <a:prstGeom prst="rect">
            <a:avLst/>
          </a:prstGeom>
        </p:spPr>
      </p:pic>
      <p:sp>
        <p:nvSpPr>
          <p:cNvPr id="72" name="Process 71">
            <a:extLst>
              <a:ext uri="{FF2B5EF4-FFF2-40B4-BE49-F238E27FC236}">
                <a16:creationId xmlns:a16="http://schemas.microsoft.com/office/drawing/2014/main" id="{8555EC52-402B-CA57-ACEC-F16F944506BF}"/>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
        <p:nvSpPr>
          <p:cNvPr id="2" name="TextBox 1">
            <a:extLst>
              <a:ext uri="{FF2B5EF4-FFF2-40B4-BE49-F238E27FC236}">
                <a16:creationId xmlns:a16="http://schemas.microsoft.com/office/drawing/2014/main" id="{CC1BC0AA-E0E2-712C-40B5-21BEC953BB2C}"/>
              </a:ext>
            </a:extLst>
          </p:cNvPr>
          <p:cNvSpPr txBox="1"/>
          <p:nvPr/>
        </p:nvSpPr>
        <p:spPr>
          <a:xfrm>
            <a:off x="1750901" y="6697890"/>
            <a:ext cx="2080333" cy="307777"/>
          </a:xfrm>
          <a:prstGeom prst="rect">
            <a:avLst/>
          </a:prstGeom>
          <a:noFill/>
        </p:spPr>
        <p:txBody>
          <a:bodyPr wrap="square" rtlCol="0">
            <a:spAutoFit/>
          </a:bodyPr>
          <a:lstStyle/>
          <a:p>
            <a:pPr algn="l"/>
            <a:r>
              <a:rPr lang="en-US" sz="1400" dirty="0">
                <a:solidFill>
                  <a:schemeClr val="tx1"/>
                </a:solidFill>
                <a:latin typeface="IBM Plex Sans" charset="0"/>
                <a:ea typeface="IBM Plex Sans" charset="0"/>
                <a:cs typeface="IBM Plex Sans" charset="0"/>
              </a:rPr>
              <a:t>IBM Design Thinking</a:t>
            </a:r>
          </a:p>
        </p:txBody>
      </p:sp>
    </p:spTree>
    <p:extLst>
      <p:ext uri="{BB962C8B-B14F-4D97-AF65-F5344CB8AC3E}">
        <p14:creationId xmlns:p14="http://schemas.microsoft.com/office/powerpoint/2010/main" val="2190909957"/>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screen shot of a computer&#10;&#10;Description automatically generated">
            <a:extLst>
              <a:ext uri="{FF2B5EF4-FFF2-40B4-BE49-F238E27FC236}">
                <a16:creationId xmlns:a16="http://schemas.microsoft.com/office/drawing/2014/main" id="{036C98B1-2A97-3A48-9F3B-E8890653C72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98304" y="-424619"/>
            <a:ext cx="26122996" cy="14042572"/>
          </a:xfrm>
          <a:prstGeom prst="rect">
            <a:avLst/>
          </a:prstGeom>
        </p:spPr>
      </p:pic>
      <p:sp>
        <p:nvSpPr>
          <p:cNvPr id="1706" name="Slide Number Placeholder"/>
          <p:cNvSpPr txBox="1">
            <a:spLocks noGrp="1"/>
          </p:cNvSpPr>
          <p:nvPr>
            <p:ph type="sldNum" sz="quarter" idx="2"/>
          </p:nvPr>
        </p:nvSpPr>
        <p:spPr>
          <a:xfrm>
            <a:off x="23968570" y="14501010"/>
            <a:ext cx="123432" cy="24622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marL="0" marR="0" lvl="0" indent="0" algn="r" defTabSz="2438338"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Helvetica Neue"/>
              </a:rPr>
              <a:pPr marL="0" marR="0" lvl="0" indent="0" algn="r" defTabSz="2438338" rtl="0" eaLnBrk="1" fontAlgn="auto" latinLnBrk="0" hangingPunct="0">
                <a:lnSpc>
                  <a:spcPct val="100000"/>
                </a:lnSpc>
                <a:spcBef>
                  <a:spcPts val="0"/>
                </a:spcBef>
                <a:spcAft>
                  <a:spcPts val="0"/>
                </a:spcAft>
                <a:buClrTx/>
                <a:buSzTx/>
                <a:buFontTx/>
                <a:buNone/>
                <a:tabLst/>
                <a:defRPr/>
              </a:pPr>
              <a:t>8</a:t>
            </a:fld>
            <a:endParaRPr kumimoji="0" sz="16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Helvetica Neue"/>
            </a:endParaRPr>
          </a:p>
        </p:txBody>
      </p:sp>
      <p:sp>
        <p:nvSpPr>
          <p:cNvPr id="1707" name="Footer Placeholder"/>
          <p:cNvSpPr txBox="1"/>
          <p:nvPr/>
        </p:nvSpPr>
        <p:spPr>
          <a:xfrm>
            <a:off x="609777" y="16984038"/>
            <a:ext cx="10972630"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lgn="l" defTabSz="1829311">
              <a:defRPr sz="1600">
                <a:solidFill>
                  <a:srgbClr val="FFFFFF"/>
                </a:solidFill>
                <a:latin typeface="Arial"/>
                <a:ea typeface="Arial"/>
                <a:cs typeface="Arial"/>
                <a:sym typeface="Arial"/>
              </a:defRPr>
            </a:lvl1pPr>
          </a:lstStyle>
          <a:p>
            <a:pPr marL="0" marR="0" lvl="0" indent="0" algn="l" defTabSz="1829266"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cs typeface="Arial"/>
                <a:sym typeface="Arial"/>
              </a:rPr>
              <a:t>Group Name / DOC ID / Month XX, 2020 / © 2020 IBM Corporation</a:t>
            </a:r>
          </a:p>
        </p:txBody>
      </p:sp>
      <p:sp>
        <p:nvSpPr>
          <p:cNvPr id="30" name="Slide Number">
            <a:extLst>
              <a:ext uri="{FF2B5EF4-FFF2-40B4-BE49-F238E27FC236}">
                <a16:creationId xmlns:a16="http://schemas.microsoft.com/office/drawing/2014/main" id="{A888D696-76AC-774C-AEF0-55A41B0F330B}"/>
              </a:ext>
            </a:extLst>
          </p:cNvPr>
          <p:cNvSpPr txBox="1">
            <a:spLocks/>
          </p:cNvSpPr>
          <p:nvPr/>
        </p:nvSpPr>
        <p:spPr>
          <a:xfrm>
            <a:off x="23813301" y="14471137"/>
            <a:ext cx="137858" cy="276999"/>
          </a:xfrm>
          <a:prstGeom prst="rect">
            <a:avLst/>
          </a:prstGeom>
          <a:ln w="12700">
            <a:miter lim="400000"/>
          </a:ln>
        </p:spPr>
        <p:txBody>
          <a:bodyPr wrap="none" lIns="0" tIns="0" rIns="0" bIns="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182928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FFFFFF"/>
                </a:solidFill>
                <a:effectLst/>
                <a:uFillTx/>
                <a:latin typeface="IBM Plex Sans"/>
                <a:ea typeface="IBM Plex Sans"/>
                <a:cs typeface="IBM Plex Sans"/>
                <a:sym typeface="IBM Plex Sans"/>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pPr marL="0" marR="0" lvl="0" indent="0" algn="r" defTabSz="1829242" rtl="0" eaLnBrk="1" fontAlgn="auto" latinLnBrk="0" hangingPunct="0">
              <a:lnSpc>
                <a:spcPct val="100000"/>
              </a:lnSpc>
              <a:spcBef>
                <a:spcPts val="0"/>
              </a:spcBef>
              <a:spcAft>
                <a:spcPts val="0"/>
              </a:spcAft>
              <a:buClrTx/>
              <a:buSzTx/>
              <a:buFontTx/>
              <a:buNone/>
              <a:tabLst/>
              <a:defRPr/>
            </a:pPr>
            <a:fld id="{86CB4B4D-7CA3-9044-876B-883B54F8677D}" type="slidenum">
              <a:rPr kumimoji="0" lang="en-AU" sz="1800" b="0" i="0" u="none" strike="noStrike" kern="0" cap="none" spc="0" normalizeH="0" baseline="0" noProof="0">
                <a:ln>
                  <a:noFill/>
                </a:ln>
                <a:solidFill>
                  <a:srgbClr val="FFFFFF"/>
                </a:solidFill>
                <a:effectLst/>
                <a:uLnTx/>
                <a:uFillTx/>
                <a:latin typeface="IBM Plex Sans"/>
                <a:sym typeface="IBM Plex Sans"/>
              </a:rPr>
              <a:pPr marL="0" marR="0" lvl="0" indent="0" algn="r" defTabSz="1829242" rtl="0" eaLnBrk="1" fontAlgn="auto" latinLnBrk="0" hangingPunct="0">
                <a:lnSpc>
                  <a:spcPct val="100000"/>
                </a:lnSpc>
                <a:spcBef>
                  <a:spcPts val="0"/>
                </a:spcBef>
                <a:spcAft>
                  <a:spcPts val="0"/>
                </a:spcAft>
                <a:buClrTx/>
                <a:buSzTx/>
                <a:buFontTx/>
                <a:buNone/>
                <a:tabLst/>
                <a:defRPr/>
              </a:pPr>
              <a:t>8</a:t>
            </a:fld>
            <a:endParaRPr kumimoji="0" lang="en-AU" sz="1800" b="0" i="0" u="none" strike="noStrike" kern="0" cap="none" spc="0" normalizeH="0" baseline="0" noProof="0" dirty="0">
              <a:ln>
                <a:noFill/>
              </a:ln>
              <a:solidFill>
                <a:srgbClr val="FFFFFF"/>
              </a:solidFill>
              <a:effectLst/>
              <a:uLnTx/>
              <a:uFillTx/>
              <a:latin typeface="IBM Plex Sans"/>
              <a:sym typeface="IBM Plex Sans"/>
            </a:endParaRPr>
          </a:p>
        </p:txBody>
      </p:sp>
      <p:sp>
        <p:nvSpPr>
          <p:cNvPr id="31" name="Footer Placeholder 1">
            <a:extLst>
              <a:ext uri="{FF2B5EF4-FFF2-40B4-BE49-F238E27FC236}">
                <a16:creationId xmlns:a16="http://schemas.microsoft.com/office/drawing/2014/main" id="{391160D5-1CD0-0046-9D4A-2A926450576C}"/>
              </a:ext>
            </a:extLst>
          </p:cNvPr>
          <p:cNvSpPr txBox="1">
            <a:spLocks/>
          </p:cNvSpPr>
          <p:nvPr/>
        </p:nvSpPr>
        <p:spPr>
          <a:xfrm>
            <a:off x="10535425" y="14477674"/>
            <a:ext cx="4276566" cy="216126"/>
          </a:xfrm>
          <a:prstGeom prst="rect">
            <a:avLst/>
          </a:prstGeom>
        </p:spPr>
        <p:txBody>
          <a:bodyPr anchor="ctr"/>
          <a:lstStyle>
            <a:defPPr>
              <a:defRPr lang="en-US"/>
            </a:defPPr>
            <a:lvl1pPr marL="0" algn="ctr" defTabSz="914400" rtl="0" eaLnBrk="1" latinLnBrk="0" hangingPunct="1">
              <a:defRPr sz="11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Commercial in Confidence</a:t>
            </a:r>
          </a:p>
        </p:txBody>
      </p:sp>
      <p:sp>
        <p:nvSpPr>
          <p:cNvPr id="357" name="TextBox 356">
            <a:extLst>
              <a:ext uri="{FF2B5EF4-FFF2-40B4-BE49-F238E27FC236}">
                <a16:creationId xmlns:a16="http://schemas.microsoft.com/office/drawing/2014/main" id="{891E0D00-7FB3-7946-A596-5D32D92E0036}"/>
              </a:ext>
            </a:extLst>
          </p:cNvPr>
          <p:cNvSpPr txBox="1"/>
          <p:nvPr/>
        </p:nvSpPr>
        <p:spPr>
          <a:xfrm>
            <a:off x="-707841" y="12723764"/>
            <a:ext cx="25091841" cy="1056988"/>
          </a:xfrm>
          <a:prstGeom prst="rect">
            <a:avLst/>
          </a:prstGeom>
          <a:solidFill>
            <a:schemeClr val="bg1"/>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marL="115888" marR="0" lvl="0" indent="0" algn="ctr" defTabSz="2438338"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525252">
                    <a:lumMod val="10000"/>
                  </a:srgbClr>
                </a:solidFill>
                <a:effectLst/>
                <a:uLnTx/>
                <a:uFillTx/>
                <a:latin typeface="IBM Plex Sans" charset="0"/>
                <a:sym typeface="Helvetica Neue"/>
              </a:rPr>
              <a:t>ACCELERATING DIGITAL TRANSFORMATION</a:t>
            </a:r>
          </a:p>
          <a:p>
            <a:pPr marL="115888" marR="0" lvl="0" indent="0" algn="ctr" defTabSz="2438338"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525252">
                    <a:lumMod val="10000"/>
                  </a:srgbClr>
                </a:solidFill>
                <a:effectLst/>
                <a:uLnTx/>
                <a:uFillTx/>
                <a:latin typeface="IBM Plex Sans" charset="0"/>
                <a:sym typeface="Helvetica Neue"/>
              </a:rPr>
              <a:t>OUR DIFFERENT LEVELS OF ENGAGEMENT</a:t>
            </a:r>
          </a:p>
        </p:txBody>
      </p:sp>
      <p:sp>
        <p:nvSpPr>
          <p:cNvPr id="376" name="Title 1">
            <a:extLst>
              <a:ext uri="{FF2B5EF4-FFF2-40B4-BE49-F238E27FC236}">
                <a16:creationId xmlns:a16="http://schemas.microsoft.com/office/drawing/2014/main" id="{D9570D96-CEA0-4B49-AF13-3F41C27ED4DD}"/>
              </a:ext>
            </a:extLst>
          </p:cNvPr>
          <p:cNvSpPr txBox="1">
            <a:spLocks/>
          </p:cNvSpPr>
          <p:nvPr/>
        </p:nvSpPr>
        <p:spPr>
          <a:xfrm>
            <a:off x="98488" y="305015"/>
            <a:ext cx="24027320" cy="1602950"/>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394" b="0">
                <a:solidFill>
                  <a:schemeClr val="bg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43"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891"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32"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777" algn="l" rtl="0" eaLnBrk="1" fontAlgn="base" hangingPunct="1">
              <a:lnSpc>
                <a:spcPct val="90000"/>
              </a:lnSpc>
              <a:spcBef>
                <a:spcPct val="0"/>
              </a:spcBef>
              <a:spcAft>
                <a:spcPct val="0"/>
              </a:spcAft>
              <a:defRPr sz="5915">
                <a:solidFill>
                  <a:srgbClr val="191919"/>
                </a:solidFill>
                <a:latin typeface="HelvNeue Light for IBM"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6400" b="0" i="0" u="none" strike="noStrike" kern="0" cap="none" spc="0" normalizeH="0" baseline="0" noProof="0" dirty="0">
                <a:ln>
                  <a:noFill/>
                </a:ln>
                <a:solidFill>
                  <a:srgbClr val="FFFFFF"/>
                </a:solidFill>
                <a:effectLst/>
                <a:uLnTx/>
                <a:uFillTx/>
                <a:latin typeface="IBM Plex Sans" panose="020B0503050203000203" pitchFamily="34" charset="0"/>
                <a:sym typeface="Helvetica Neue"/>
              </a:rPr>
              <a:t>Our Possible Hybrid Cloud Journey</a:t>
            </a:r>
            <a:br>
              <a:rPr kumimoji="0" lang="en-US" sz="6394" b="0" i="0" u="none" strike="noStrike" kern="0" cap="none" spc="0" normalizeH="0" baseline="0" noProof="0" dirty="0">
                <a:ln>
                  <a:noFill/>
                </a:ln>
                <a:solidFill>
                  <a:srgbClr val="FFFFFF"/>
                </a:solidFill>
                <a:effectLst/>
                <a:uLnTx/>
                <a:uFillTx/>
                <a:latin typeface="IBM Plex Sans Light"/>
                <a:sym typeface="Helvetica Neue"/>
              </a:rPr>
            </a:br>
            <a:endParaRPr kumimoji="0" lang="en-US" sz="4400" b="0" i="0" u="none" strike="noStrike" kern="0" cap="none" spc="0" normalizeH="0" baseline="0" noProof="0" dirty="0">
              <a:ln>
                <a:noFill/>
              </a:ln>
              <a:solidFill>
                <a:srgbClr val="FFFFFF"/>
              </a:solidFill>
              <a:effectLst/>
              <a:uLnTx/>
              <a:uFillTx/>
              <a:latin typeface="IBM Plex Sans Light"/>
              <a:sym typeface="Helvetica Neue"/>
            </a:endParaRPr>
          </a:p>
        </p:txBody>
      </p:sp>
      <p:grpSp>
        <p:nvGrpSpPr>
          <p:cNvPr id="3" name="Group 2">
            <a:extLst>
              <a:ext uri="{FF2B5EF4-FFF2-40B4-BE49-F238E27FC236}">
                <a16:creationId xmlns:a16="http://schemas.microsoft.com/office/drawing/2014/main" id="{7B5FD5E6-EF81-1C48-BB1B-85C013BA90B2}"/>
              </a:ext>
            </a:extLst>
          </p:cNvPr>
          <p:cNvGrpSpPr/>
          <p:nvPr/>
        </p:nvGrpSpPr>
        <p:grpSpPr>
          <a:xfrm>
            <a:off x="-3976024" y="1633857"/>
            <a:ext cx="13044780" cy="11089906"/>
            <a:chOff x="32111" y="1594177"/>
            <a:chExt cx="6750171" cy="4281656"/>
          </a:xfrm>
        </p:grpSpPr>
        <p:pic>
          <p:nvPicPr>
            <p:cNvPr id="345" name="Graphic 344" descr="Magnifying glass outline">
              <a:extLst>
                <a:ext uri="{FF2B5EF4-FFF2-40B4-BE49-F238E27FC236}">
                  <a16:creationId xmlns:a16="http://schemas.microsoft.com/office/drawing/2014/main" id="{8A333D89-CBF0-2046-841C-2C499FE8A7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04797" y="3869270"/>
              <a:ext cx="352465" cy="352465"/>
            </a:xfrm>
            <a:prstGeom prst="rect">
              <a:avLst/>
            </a:prstGeom>
          </p:spPr>
        </p:pic>
        <p:grpSp>
          <p:nvGrpSpPr>
            <p:cNvPr id="7" name="Group 6">
              <a:extLst>
                <a:ext uri="{FF2B5EF4-FFF2-40B4-BE49-F238E27FC236}">
                  <a16:creationId xmlns:a16="http://schemas.microsoft.com/office/drawing/2014/main" id="{228CD6ED-1E78-354A-A292-0C2056E782FD}"/>
                </a:ext>
              </a:extLst>
            </p:cNvPr>
            <p:cNvGrpSpPr/>
            <p:nvPr/>
          </p:nvGrpSpPr>
          <p:grpSpPr>
            <a:xfrm>
              <a:off x="32111" y="1594177"/>
              <a:ext cx="6750171" cy="4281656"/>
              <a:chOff x="7687906" y="599761"/>
              <a:chExt cx="6070616" cy="3761922"/>
            </a:xfrm>
          </p:grpSpPr>
          <p:sp>
            <p:nvSpPr>
              <p:cNvPr id="5" name="Triangle 4">
                <a:extLst>
                  <a:ext uri="{FF2B5EF4-FFF2-40B4-BE49-F238E27FC236}">
                    <a16:creationId xmlns:a16="http://schemas.microsoft.com/office/drawing/2014/main" id="{F42A0CB0-39B1-BC4F-8850-2EC97E6EAFDC}"/>
                  </a:ext>
                </a:extLst>
              </p:cNvPr>
              <p:cNvSpPr/>
              <p:nvPr/>
            </p:nvSpPr>
            <p:spPr>
              <a:xfrm>
                <a:off x="9773993" y="599761"/>
                <a:ext cx="1921323" cy="1194792"/>
              </a:xfrm>
              <a:prstGeom prst="triangle">
                <a:avLst>
                  <a:gd name="adj" fmla="val 50000"/>
                </a:avLst>
              </a:prstGeom>
              <a:solidFill>
                <a:srgbClr val="002060"/>
              </a:solidFill>
            </p:spPr>
            <p:txBody>
              <a:bodyPr wrap="square" lIns="0" tIns="0" rIns="0" bIns="0" rtlCol="0" anchor="ctr">
                <a:no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a:ea typeface="+mn-ea"/>
                  <a:cs typeface="Arial"/>
                  <a:sym typeface="Helvetica Neue"/>
                </a:endParaRPr>
              </a:p>
            </p:txBody>
          </p:sp>
          <p:sp>
            <p:nvSpPr>
              <p:cNvPr id="6" name="Trapezium 5">
                <a:extLst>
                  <a:ext uri="{FF2B5EF4-FFF2-40B4-BE49-F238E27FC236}">
                    <a16:creationId xmlns:a16="http://schemas.microsoft.com/office/drawing/2014/main" id="{B1FF6AA2-4678-3046-9480-C1F66DBFB0C9}"/>
                  </a:ext>
                </a:extLst>
              </p:cNvPr>
              <p:cNvSpPr/>
              <p:nvPr/>
            </p:nvSpPr>
            <p:spPr>
              <a:xfrm>
                <a:off x="8678690" y="1911805"/>
                <a:ext cx="4106036" cy="1135531"/>
              </a:xfrm>
              <a:prstGeom prst="trapezoid">
                <a:avLst>
                  <a:gd name="adj" fmla="val 68691"/>
                </a:avLst>
              </a:prstGeom>
              <a:solidFill>
                <a:srgbClr val="002060"/>
              </a:solidFill>
            </p:spPr>
            <p:txBody>
              <a:bodyPr wrap="square" lIns="0" tIns="0" rIns="0" bIns="0" rtlCol="0" anchor="ctr">
                <a:no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Arial"/>
                    <a:ea typeface="+mn-ea"/>
                    <a:cs typeface="Arial"/>
                    <a:sym typeface="Helvetica Neue"/>
                  </a:rPr>
                  <a:t> </a:t>
                </a:r>
              </a:p>
            </p:txBody>
          </p:sp>
          <p:sp>
            <p:nvSpPr>
              <p:cNvPr id="358" name="Trapezium 357">
                <a:extLst>
                  <a:ext uri="{FF2B5EF4-FFF2-40B4-BE49-F238E27FC236}">
                    <a16:creationId xmlns:a16="http://schemas.microsoft.com/office/drawing/2014/main" id="{8E7BF983-09A4-9144-96CC-261B0D13846F}"/>
                  </a:ext>
                </a:extLst>
              </p:cNvPr>
              <p:cNvSpPr/>
              <p:nvPr/>
            </p:nvSpPr>
            <p:spPr>
              <a:xfrm>
                <a:off x="7687906" y="3145532"/>
                <a:ext cx="6070616" cy="1216151"/>
              </a:xfrm>
              <a:prstGeom prst="trapezoid">
                <a:avLst>
                  <a:gd name="adj" fmla="val 68691"/>
                </a:avLst>
              </a:prstGeom>
              <a:solidFill>
                <a:srgbClr val="002060"/>
              </a:solidFill>
            </p:spPr>
            <p:txBody>
              <a:bodyPr wrap="square" lIns="0" tIns="0" rIns="0" bIns="0" rtlCol="0" anchor="ctr">
                <a:no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a:ea typeface="+mn-ea"/>
                  <a:cs typeface="Arial"/>
                  <a:sym typeface="Helvetica Neue"/>
                </a:endParaRPr>
              </a:p>
            </p:txBody>
          </p:sp>
        </p:grpSp>
        <p:sp>
          <p:nvSpPr>
            <p:cNvPr id="24" name="Text Placeholder 1">
              <a:extLst>
                <a:ext uri="{FF2B5EF4-FFF2-40B4-BE49-F238E27FC236}">
                  <a16:creationId xmlns:a16="http://schemas.microsoft.com/office/drawing/2014/main" id="{09DBB210-9F64-3541-8C30-A95D289A28ED}"/>
                </a:ext>
              </a:extLst>
            </p:cNvPr>
            <p:cNvSpPr txBox="1">
              <a:spLocks/>
            </p:cNvSpPr>
            <p:nvPr/>
          </p:nvSpPr>
          <p:spPr>
            <a:xfrm>
              <a:off x="777791" y="5159882"/>
              <a:ext cx="5117425" cy="555678"/>
            </a:xfrm>
            <a:prstGeom prst="rect">
              <a:avLst/>
            </a:prstGeom>
          </p:spPr>
          <p:txBody>
            <a:bodyPr vert="horz" lIns="0" tIns="0" rIns="0" bIns="0" rtlCol="0" anchor="ctr">
              <a:noAutofit/>
            </a:bodyPr>
            <a:lstStyle>
              <a:lvl1pPr marL="0" indent="0" algn="l" rtl="0" eaLnBrk="1" fontAlgn="base" hangingPunct="1">
                <a:lnSpc>
                  <a:spcPct val="100000"/>
                </a:lnSpc>
                <a:spcBef>
                  <a:spcPts val="2200"/>
                </a:spcBef>
                <a:spcAft>
                  <a:spcPct val="0"/>
                </a:spcAft>
                <a:buClr>
                  <a:srgbClr val="6D6E70"/>
                </a:buClr>
                <a:buSzPct val="90000"/>
                <a:buFont typeface="Wingdings" pitchFamily="2" charset="2"/>
                <a:buNone/>
                <a:defRPr sz="4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342904"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685810" indent="-347472" algn="l" rtl="0" eaLnBrk="1" fontAlgn="base" hangingPunct="1">
                <a:lnSpc>
                  <a:spcPct val="100000"/>
                </a:lnSpc>
                <a:spcBef>
                  <a:spcPts val="2200"/>
                </a:spcBef>
                <a:spcAft>
                  <a:spcPct val="0"/>
                </a:spcAft>
                <a:buClr>
                  <a:schemeClr val="bg1"/>
                </a:buClr>
                <a:buSzPct val="100000"/>
                <a:buFont typeface="Arial" panose="020B0604020202020204" pitchFamily="34" charset="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1257316"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606570" indent="-347472" algn="l" rtl="0" eaLnBrk="1" fontAlgn="base" hangingPunct="1">
                <a:lnSpc>
                  <a:spcPct val="100000"/>
                </a:lnSpc>
                <a:spcBef>
                  <a:spcPts val="2200"/>
                </a:spcBef>
                <a:spcAft>
                  <a:spcPct val="0"/>
                </a:spcAft>
                <a:buClr>
                  <a:schemeClr val="bg1"/>
                </a:buClr>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3167442" indent="-259340" algn="l" rtl="0" eaLnBrk="1" fontAlgn="base" hangingPunct="1">
                <a:spcBef>
                  <a:spcPct val="20000"/>
                </a:spcBef>
                <a:spcAft>
                  <a:spcPct val="0"/>
                </a:spcAft>
                <a:buClr>
                  <a:schemeClr val="bg1"/>
                </a:buClr>
                <a:buChar char="»"/>
                <a:defRPr sz="2538">
                  <a:solidFill>
                    <a:schemeClr val="bg1"/>
                  </a:solidFill>
                  <a:latin typeface="Arial" charset="0"/>
                </a:defRPr>
              </a:lvl6pPr>
              <a:lvl7pPr marL="3892582" indent="-259340" algn="l" rtl="0" eaLnBrk="1" fontAlgn="base" hangingPunct="1">
                <a:spcBef>
                  <a:spcPct val="20000"/>
                </a:spcBef>
                <a:spcAft>
                  <a:spcPct val="0"/>
                </a:spcAft>
                <a:buClr>
                  <a:schemeClr val="bg1"/>
                </a:buClr>
                <a:buChar char="»"/>
                <a:defRPr sz="2538">
                  <a:solidFill>
                    <a:schemeClr val="bg1"/>
                  </a:solidFill>
                  <a:latin typeface="Arial" charset="0"/>
                </a:defRPr>
              </a:lvl7pPr>
              <a:lvl8pPr marL="4617720" indent="-259340" algn="l" rtl="0" eaLnBrk="1" fontAlgn="base" hangingPunct="1">
                <a:spcBef>
                  <a:spcPct val="20000"/>
                </a:spcBef>
                <a:spcAft>
                  <a:spcPct val="0"/>
                </a:spcAft>
                <a:buClr>
                  <a:schemeClr val="bg1"/>
                </a:buClr>
                <a:buChar char="»"/>
                <a:defRPr sz="2538">
                  <a:solidFill>
                    <a:schemeClr val="bg1"/>
                  </a:solidFill>
                  <a:latin typeface="Arial" charset="0"/>
                </a:defRPr>
              </a:lvl8pPr>
              <a:lvl9pPr marL="5342860" indent="-259340" algn="l" rtl="0" eaLnBrk="1" fontAlgn="base" hangingPunct="1">
                <a:spcBef>
                  <a:spcPct val="20000"/>
                </a:spcBef>
                <a:spcAft>
                  <a:spcPct val="0"/>
                </a:spcAft>
                <a:buClr>
                  <a:schemeClr val="bg1"/>
                </a:buClr>
                <a:buChar char="»"/>
                <a:defRPr sz="2538">
                  <a:solidFill>
                    <a:schemeClr val="bg1"/>
                  </a:solidFill>
                  <a:latin typeface="Arial" charset="0"/>
                </a:defRPr>
              </a:lvl9pPr>
            </a:lstStyle>
            <a:p>
              <a:pPr marL="0" marR="0" lvl="1" indent="0" algn="ctr" defTabSz="1216760" rtl="0" eaLnBrk="1" fontAlgn="base" latinLnBrk="0" hangingPunct="1">
                <a:lnSpc>
                  <a:spcPct val="100000"/>
                </a:lnSpc>
                <a:spcBef>
                  <a:spcPts val="0"/>
                </a:spcBef>
                <a:spcAft>
                  <a:spcPts val="534"/>
                </a:spcAft>
                <a:buClr>
                  <a:srgbClr val="FFFFFF"/>
                </a:buClr>
                <a:buSzPct val="100000"/>
                <a:buFont typeface=".AppleSystemUIFont" charset="-120"/>
                <a:buNone/>
                <a:tabLst/>
                <a:defRPr/>
              </a:pPr>
              <a:r>
                <a:rPr kumimoji="0" lang="en-US" sz="4000" b="1" i="0" u="none" strike="noStrike" kern="0" cap="none" spc="0" normalizeH="0" baseline="0" noProof="0" dirty="0">
                  <a:ln>
                    <a:noFill/>
                  </a:ln>
                  <a:solidFill>
                    <a:srgbClr val="FFFFFF"/>
                  </a:solidFill>
                  <a:effectLst/>
                  <a:uLnTx/>
                  <a:uFillTx/>
                  <a:latin typeface="IBM Plex Sans SemiBold" panose="020B0503050203000203" pitchFamily="34" charset="0"/>
                  <a:sym typeface="Helvetica Neue"/>
                </a:rPr>
                <a:t>Enablement</a:t>
              </a:r>
            </a:p>
          </p:txBody>
        </p:sp>
        <p:sp>
          <p:nvSpPr>
            <p:cNvPr id="25" name="Text Placeholder 1">
              <a:extLst>
                <a:ext uri="{FF2B5EF4-FFF2-40B4-BE49-F238E27FC236}">
                  <a16:creationId xmlns:a16="http://schemas.microsoft.com/office/drawing/2014/main" id="{E24CAE03-C2C6-524A-85D8-E54B203B0ED2}"/>
                </a:ext>
              </a:extLst>
            </p:cNvPr>
            <p:cNvSpPr txBox="1">
              <a:spLocks/>
            </p:cNvSpPr>
            <p:nvPr/>
          </p:nvSpPr>
          <p:spPr>
            <a:xfrm>
              <a:off x="1909209" y="3694998"/>
              <a:ext cx="2854589" cy="555678"/>
            </a:xfrm>
            <a:prstGeom prst="rect">
              <a:avLst/>
            </a:prstGeom>
          </p:spPr>
          <p:txBody>
            <a:bodyPr vert="horz" lIns="0" tIns="0" rIns="0" bIns="0" rtlCol="0" anchor="ctr">
              <a:noAutofit/>
            </a:bodyPr>
            <a:lstStyle>
              <a:lvl1pPr marL="0" indent="0" algn="l" rtl="0" eaLnBrk="1" fontAlgn="base" hangingPunct="1">
                <a:lnSpc>
                  <a:spcPct val="100000"/>
                </a:lnSpc>
                <a:spcBef>
                  <a:spcPts val="2200"/>
                </a:spcBef>
                <a:spcAft>
                  <a:spcPct val="0"/>
                </a:spcAft>
                <a:buClr>
                  <a:srgbClr val="6D6E70"/>
                </a:buClr>
                <a:buSzPct val="90000"/>
                <a:buFont typeface="Wingdings" pitchFamily="2" charset="2"/>
                <a:buNone/>
                <a:defRPr sz="4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342904"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685810" indent="-347472" algn="l" rtl="0" eaLnBrk="1" fontAlgn="base" hangingPunct="1">
                <a:lnSpc>
                  <a:spcPct val="100000"/>
                </a:lnSpc>
                <a:spcBef>
                  <a:spcPts val="2200"/>
                </a:spcBef>
                <a:spcAft>
                  <a:spcPct val="0"/>
                </a:spcAft>
                <a:buClr>
                  <a:schemeClr val="bg1"/>
                </a:buClr>
                <a:buSzPct val="100000"/>
                <a:buFont typeface="Arial" panose="020B0604020202020204" pitchFamily="34" charset="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1257316"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606570" indent="-347472" algn="l" rtl="0" eaLnBrk="1" fontAlgn="base" hangingPunct="1">
                <a:lnSpc>
                  <a:spcPct val="100000"/>
                </a:lnSpc>
                <a:spcBef>
                  <a:spcPts val="2200"/>
                </a:spcBef>
                <a:spcAft>
                  <a:spcPct val="0"/>
                </a:spcAft>
                <a:buClr>
                  <a:schemeClr val="bg1"/>
                </a:buClr>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3167442" indent="-259340" algn="l" rtl="0" eaLnBrk="1" fontAlgn="base" hangingPunct="1">
                <a:spcBef>
                  <a:spcPct val="20000"/>
                </a:spcBef>
                <a:spcAft>
                  <a:spcPct val="0"/>
                </a:spcAft>
                <a:buClr>
                  <a:schemeClr val="bg1"/>
                </a:buClr>
                <a:buChar char="»"/>
                <a:defRPr sz="2538">
                  <a:solidFill>
                    <a:schemeClr val="bg1"/>
                  </a:solidFill>
                  <a:latin typeface="Arial" charset="0"/>
                </a:defRPr>
              </a:lvl6pPr>
              <a:lvl7pPr marL="3892582" indent="-259340" algn="l" rtl="0" eaLnBrk="1" fontAlgn="base" hangingPunct="1">
                <a:spcBef>
                  <a:spcPct val="20000"/>
                </a:spcBef>
                <a:spcAft>
                  <a:spcPct val="0"/>
                </a:spcAft>
                <a:buClr>
                  <a:schemeClr val="bg1"/>
                </a:buClr>
                <a:buChar char="»"/>
                <a:defRPr sz="2538">
                  <a:solidFill>
                    <a:schemeClr val="bg1"/>
                  </a:solidFill>
                  <a:latin typeface="Arial" charset="0"/>
                </a:defRPr>
              </a:lvl7pPr>
              <a:lvl8pPr marL="4617720" indent="-259340" algn="l" rtl="0" eaLnBrk="1" fontAlgn="base" hangingPunct="1">
                <a:spcBef>
                  <a:spcPct val="20000"/>
                </a:spcBef>
                <a:spcAft>
                  <a:spcPct val="0"/>
                </a:spcAft>
                <a:buClr>
                  <a:schemeClr val="bg1"/>
                </a:buClr>
                <a:buChar char="»"/>
                <a:defRPr sz="2538">
                  <a:solidFill>
                    <a:schemeClr val="bg1"/>
                  </a:solidFill>
                  <a:latin typeface="Arial" charset="0"/>
                </a:defRPr>
              </a:lvl8pPr>
              <a:lvl9pPr marL="5342860" indent="-259340" algn="l" rtl="0" eaLnBrk="1" fontAlgn="base" hangingPunct="1">
                <a:spcBef>
                  <a:spcPct val="20000"/>
                </a:spcBef>
                <a:spcAft>
                  <a:spcPct val="0"/>
                </a:spcAft>
                <a:buClr>
                  <a:schemeClr val="bg1"/>
                </a:buClr>
                <a:buChar char="»"/>
                <a:defRPr sz="2538">
                  <a:solidFill>
                    <a:schemeClr val="bg1"/>
                  </a:solidFill>
                  <a:latin typeface="Arial" charset="0"/>
                </a:defRPr>
              </a:lvl9pPr>
            </a:lstStyle>
            <a:p>
              <a:pPr marL="0" marR="0" lvl="1" indent="0" algn="ctr" defTabSz="1216760" rtl="0" eaLnBrk="1" fontAlgn="base" latinLnBrk="0" hangingPunct="1">
                <a:lnSpc>
                  <a:spcPct val="100000"/>
                </a:lnSpc>
                <a:spcBef>
                  <a:spcPts val="0"/>
                </a:spcBef>
                <a:spcAft>
                  <a:spcPts val="534"/>
                </a:spcAft>
                <a:buClr>
                  <a:srgbClr val="FFFFFF"/>
                </a:buClr>
                <a:buSzPct val="100000"/>
                <a:buFont typeface=".AppleSystemUIFont" charset="-120"/>
                <a:buNone/>
                <a:tabLst/>
                <a:defRPr/>
              </a:pPr>
              <a:r>
                <a:rPr kumimoji="0" lang="en-US" sz="4000" b="1" i="0" u="none" strike="noStrike" kern="0" cap="none" spc="0" normalizeH="0" baseline="0" noProof="0" dirty="0">
                  <a:ln>
                    <a:noFill/>
                  </a:ln>
                  <a:solidFill>
                    <a:srgbClr val="FFFFFF"/>
                  </a:solidFill>
                  <a:effectLst/>
                  <a:uLnTx/>
                  <a:uFillTx/>
                  <a:latin typeface="IBM Plex Sans SemiBold" panose="020B0503050203000203" pitchFamily="34" charset="0"/>
                  <a:sym typeface="Helvetica Neue"/>
                </a:rPr>
                <a:t>Modernize</a:t>
              </a:r>
            </a:p>
          </p:txBody>
        </p:sp>
        <p:sp>
          <p:nvSpPr>
            <p:cNvPr id="26" name="Text Placeholder 1">
              <a:extLst>
                <a:ext uri="{FF2B5EF4-FFF2-40B4-BE49-F238E27FC236}">
                  <a16:creationId xmlns:a16="http://schemas.microsoft.com/office/drawing/2014/main" id="{F89ED92C-443C-C94A-955C-0915D51BA82E}"/>
                </a:ext>
              </a:extLst>
            </p:cNvPr>
            <p:cNvSpPr txBox="1">
              <a:spLocks/>
            </p:cNvSpPr>
            <p:nvPr/>
          </p:nvSpPr>
          <p:spPr>
            <a:xfrm>
              <a:off x="2630798" y="2346074"/>
              <a:ext cx="1552796" cy="555678"/>
            </a:xfrm>
            <a:prstGeom prst="rect">
              <a:avLst/>
            </a:prstGeom>
          </p:spPr>
          <p:txBody>
            <a:bodyPr vert="horz" lIns="0" tIns="0" rIns="0" bIns="0" rtlCol="0" anchor="ctr">
              <a:noAutofit/>
            </a:bodyPr>
            <a:lstStyle>
              <a:lvl1pPr marL="0" indent="0" algn="l" rtl="0" eaLnBrk="1" fontAlgn="base" hangingPunct="1">
                <a:lnSpc>
                  <a:spcPct val="100000"/>
                </a:lnSpc>
                <a:spcBef>
                  <a:spcPts val="2200"/>
                </a:spcBef>
                <a:spcAft>
                  <a:spcPct val="0"/>
                </a:spcAft>
                <a:buClr>
                  <a:srgbClr val="6D6E70"/>
                </a:buClr>
                <a:buSzPct val="90000"/>
                <a:buFont typeface="Wingdings" pitchFamily="2" charset="2"/>
                <a:buNone/>
                <a:defRPr sz="4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342904"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685810" indent="-347472" algn="l" rtl="0" eaLnBrk="1" fontAlgn="base" hangingPunct="1">
                <a:lnSpc>
                  <a:spcPct val="100000"/>
                </a:lnSpc>
                <a:spcBef>
                  <a:spcPts val="2200"/>
                </a:spcBef>
                <a:spcAft>
                  <a:spcPct val="0"/>
                </a:spcAft>
                <a:buClr>
                  <a:schemeClr val="bg1"/>
                </a:buClr>
                <a:buSzPct val="100000"/>
                <a:buFont typeface="Arial" panose="020B0604020202020204" pitchFamily="34" charset="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1257316"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606570" indent="-347472" algn="l" rtl="0" eaLnBrk="1" fontAlgn="base" hangingPunct="1">
                <a:lnSpc>
                  <a:spcPct val="100000"/>
                </a:lnSpc>
                <a:spcBef>
                  <a:spcPts val="2200"/>
                </a:spcBef>
                <a:spcAft>
                  <a:spcPct val="0"/>
                </a:spcAft>
                <a:buClr>
                  <a:schemeClr val="bg1"/>
                </a:buClr>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3167442" indent="-259340" algn="l" rtl="0" eaLnBrk="1" fontAlgn="base" hangingPunct="1">
                <a:spcBef>
                  <a:spcPct val="20000"/>
                </a:spcBef>
                <a:spcAft>
                  <a:spcPct val="0"/>
                </a:spcAft>
                <a:buClr>
                  <a:schemeClr val="bg1"/>
                </a:buClr>
                <a:buChar char="»"/>
                <a:defRPr sz="2538">
                  <a:solidFill>
                    <a:schemeClr val="bg1"/>
                  </a:solidFill>
                  <a:latin typeface="Arial" charset="0"/>
                </a:defRPr>
              </a:lvl6pPr>
              <a:lvl7pPr marL="3892582" indent="-259340" algn="l" rtl="0" eaLnBrk="1" fontAlgn="base" hangingPunct="1">
                <a:spcBef>
                  <a:spcPct val="20000"/>
                </a:spcBef>
                <a:spcAft>
                  <a:spcPct val="0"/>
                </a:spcAft>
                <a:buClr>
                  <a:schemeClr val="bg1"/>
                </a:buClr>
                <a:buChar char="»"/>
                <a:defRPr sz="2538">
                  <a:solidFill>
                    <a:schemeClr val="bg1"/>
                  </a:solidFill>
                  <a:latin typeface="Arial" charset="0"/>
                </a:defRPr>
              </a:lvl7pPr>
              <a:lvl8pPr marL="4617720" indent="-259340" algn="l" rtl="0" eaLnBrk="1" fontAlgn="base" hangingPunct="1">
                <a:spcBef>
                  <a:spcPct val="20000"/>
                </a:spcBef>
                <a:spcAft>
                  <a:spcPct val="0"/>
                </a:spcAft>
                <a:buClr>
                  <a:schemeClr val="bg1"/>
                </a:buClr>
                <a:buChar char="»"/>
                <a:defRPr sz="2538">
                  <a:solidFill>
                    <a:schemeClr val="bg1"/>
                  </a:solidFill>
                  <a:latin typeface="Arial" charset="0"/>
                </a:defRPr>
              </a:lvl8pPr>
              <a:lvl9pPr marL="5342860" indent="-259340" algn="l" rtl="0" eaLnBrk="1" fontAlgn="base" hangingPunct="1">
                <a:spcBef>
                  <a:spcPct val="20000"/>
                </a:spcBef>
                <a:spcAft>
                  <a:spcPct val="0"/>
                </a:spcAft>
                <a:buClr>
                  <a:schemeClr val="bg1"/>
                </a:buClr>
                <a:buChar char="»"/>
                <a:defRPr sz="2538">
                  <a:solidFill>
                    <a:schemeClr val="bg1"/>
                  </a:solidFill>
                  <a:latin typeface="Arial" charset="0"/>
                </a:defRPr>
              </a:lvl9pPr>
            </a:lstStyle>
            <a:p>
              <a:pPr marL="0" marR="0" lvl="1" indent="0" algn="ctr" defTabSz="1216760" rtl="0" eaLnBrk="1" fontAlgn="base" latinLnBrk="0" hangingPunct="1">
                <a:lnSpc>
                  <a:spcPct val="100000"/>
                </a:lnSpc>
                <a:spcBef>
                  <a:spcPts val="0"/>
                </a:spcBef>
                <a:spcAft>
                  <a:spcPts val="534"/>
                </a:spcAft>
                <a:buClr>
                  <a:srgbClr val="FFFFFF"/>
                </a:buClr>
                <a:buSzPct val="100000"/>
                <a:buFont typeface=".AppleSystemUIFont" charset="-120"/>
                <a:buNone/>
                <a:tabLst/>
                <a:defRPr/>
              </a:pPr>
              <a:r>
                <a:rPr kumimoji="0" lang="en-US" sz="4000" b="1" i="0" u="none" strike="noStrike" kern="0" cap="none" spc="0" normalizeH="0" baseline="0" noProof="0" dirty="0">
                  <a:ln>
                    <a:noFill/>
                  </a:ln>
                  <a:solidFill>
                    <a:srgbClr val="FFFFFF"/>
                  </a:solidFill>
                  <a:effectLst/>
                  <a:uLnTx/>
                  <a:uFillTx/>
                  <a:latin typeface="IBM Plex Sans SemiBold" panose="020B0503050203000203" pitchFamily="34" charset="0"/>
                  <a:sym typeface="Helvetica Neue"/>
                </a:rPr>
                <a:t>Innovate</a:t>
              </a:r>
            </a:p>
          </p:txBody>
        </p:sp>
      </p:grpSp>
      <p:sp>
        <p:nvSpPr>
          <p:cNvPr id="34" name="TextBox 33">
            <a:extLst>
              <a:ext uri="{FF2B5EF4-FFF2-40B4-BE49-F238E27FC236}">
                <a16:creationId xmlns:a16="http://schemas.microsoft.com/office/drawing/2014/main" id="{47A1D773-9E6D-9442-8800-238F868EDFD1}"/>
              </a:ext>
            </a:extLst>
          </p:cNvPr>
          <p:cNvSpPr txBox="1"/>
          <p:nvPr/>
        </p:nvSpPr>
        <p:spPr>
          <a:xfrm>
            <a:off x="8252603" y="10266208"/>
            <a:ext cx="12784962" cy="1200329"/>
          </a:xfrm>
          <a:prstGeom prst="rect">
            <a:avLst/>
          </a:prstGeom>
          <a:noFill/>
        </p:spPr>
        <p:txBody>
          <a:bodyPr wrap="square" rtlCol="0">
            <a:spAutoFit/>
          </a:bodyPr>
          <a:lstStyle/>
          <a:p>
            <a:pPr marL="342900" marR="0" lvl="0" indent="-3429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1"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Open, fast and  secure </a:t>
            </a:r>
            <a:r>
              <a:rPr kumimoji="0" lang="en-US" sz="240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way to </a:t>
            </a:r>
            <a:r>
              <a:rPr lang="en-US" i="1" dirty="0">
                <a:solidFill>
                  <a:srgbClr val="FFFFFF"/>
                </a:solidFill>
                <a:latin typeface="IBM Plex Sans" panose="020B0503050203000203" pitchFamily="34" charset="0"/>
                <a:sym typeface="Wingdings" pitchFamily="2" charset="2"/>
              </a:rPr>
              <a:t>build once, </a:t>
            </a: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move and run business application anywhere</a:t>
            </a:r>
          </a:p>
          <a:p>
            <a:pPr marL="342900" marR="0" lvl="0" indent="-3429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End-user experience monitoring, </a:t>
            </a:r>
          </a:p>
          <a:p>
            <a:pPr marL="342900" marR="0" lvl="0" indent="-3429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Intelligent IT operations </a:t>
            </a:r>
          </a:p>
        </p:txBody>
      </p:sp>
      <p:sp>
        <p:nvSpPr>
          <p:cNvPr id="266" name="TextBox 265">
            <a:extLst>
              <a:ext uri="{FF2B5EF4-FFF2-40B4-BE49-F238E27FC236}">
                <a16:creationId xmlns:a16="http://schemas.microsoft.com/office/drawing/2014/main" id="{422D91E7-8669-D049-9AA0-6781019711B7}"/>
              </a:ext>
            </a:extLst>
          </p:cNvPr>
          <p:cNvSpPr txBox="1"/>
          <p:nvPr/>
        </p:nvSpPr>
        <p:spPr>
          <a:xfrm>
            <a:off x="8290853" y="9771549"/>
            <a:ext cx="17807600" cy="523220"/>
          </a:xfrm>
          <a:prstGeom prst="rect">
            <a:avLst/>
          </a:prstGeom>
          <a:noFill/>
        </p:spPr>
        <p:txBody>
          <a:bodyPr wrap="square" rtlCol="0">
            <a:spAutoFit/>
          </a:bodyPr>
          <a:lstStyle/>
          <a:p>
            <a:pPr marL="0" marR="0" lvl="0" indent="0" algn="l" defTabSz="1213442" rtl="0" eaLnBrk="1" fontAlgn="auto" latinLnBrk="0" hangingPunct="0">
              <a:lnSpc>
                <a:spcPct val="100000"/>
              </a:lnSpc>
              <a:spcBef>
                <a:spcPts val="0"/>
              </a:spcBef>
              <a:spcAft>
                <a:spcPts val="0"/>
              </a:spcAft>
              <a:buClrTx/>
              <a:buSzTx/>
              <a:buFontTx/>
              <a:buNone/>
              <a:tabLst/>
              <a:defRPr/>
            </a:pPr>
            <a:r>
              <a:rPr kumimoji="0" lang="en-US" sz="2800" b="1" i="1" u="sng"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ENTERPRISE GRADE CONTAINER PLATFORM</a:t>
            </a:r>
          </a:p>
        </p:txBody>
      </p:sp>
      <p:sp>
        <p:nvSpPr>
          <p:cNvPr id="268" name="TextBox 267">
            <a:extLst>
              <a:ext uri="{FF2B5EF4-FFF2-40B4-BE49-F238E27FC236}">
                <a16:creationId xmlns:a16="http://schemas.microsoft.com/office/drawing/2014/main" id="{B5F6FCB7-D813-5A46-960E-BF28B38414E1}"/>
              </a:ext>
            </a:extLst>
          </p:cNvPr>
          <p:cNvSpPr txBox="1"/>
          <p:nvPr/>
        </p:nvSpPr>
        <p:spPr>
          <a:xfrm>
            <a:off x="6976225" y="5754263"/>
            <a:ext cx="14101764" cy="2369880"/>
          </a:xfrm>
          <a:prstGeom prst="rect">
            <a:avLst/>
          </a:prstGeom>
          <a:noFill/>
        </p:spPr>
        <p:txBody>
          <a:bodyPr wrap="square" rtlCol="0">
            <a:spAutoFit/>
          </a:bodyPr>
          <a:lstStyle/>
          <a:p>
            <a:pPr marL="0" marR="0" lvl="0" indent="0" algn="l" defTabSz="1213442" rtl="0" eaLnBrk="1" fontAlgn="auto" latinLnBrk="0" hangingPunct="0">
              <a:lnSpc>
                <a:spcPct val="100000"/>
              </a:lnSpc>
              <a:spcBef>
                <a:spcPts val="0"/>
              </a:spcBef>
              <a:spcAft>
                <a:spcPts val="0"/>
              </a:spcAft>
              <a:buClrTx/>
              <a:buSzTx/>
              <a:buFontTx/>
              <a:buNone/>
              <a:tabLst/>
              <a:defRPr/>
            </a:pPr>
            <a:r>
              <a:rPr kumimoji="0" lang="en-US" sz="2800" b="1" i="1" u="sng"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AGILITY &amp; INTELLIGENT ENTERPRISE </a:t>
            </a:r>
          </a:p>
          <a:p>
            <a:pPr marL="571500" marR="0" lvl="0" indent="-5715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Accelerate time to value with </a:t>
            </a:r>
            <a:r>
              <a:rPr kumimoji="0" lang="en-US" sz="2400" b="1"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automation </a:t>
            </a: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 of end-to-end business processes and infusing AI </a:t>
            </a:r>
          </a:p>
          <a:p>
            <a:pPr marL="571500" marR="0" lvl="0" indent="-5715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Scale business needs and choose the </a:t>
            </a:r>
            <a:r>
              <a:rPr kumimoji="0" lang="en-US" sz="240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right deployment model </a:t>
            </a:r>
          </a:p>
          <a:p>
            <a:pPr marL="571500" marR="0" lvl="0" indent="-5715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C</a:t>
            </a:r>
            <a:r>
              <a:rPr kumimoji="0" lang="en-US" sz="240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Helvetica Neue"/>
              </a:rPr>
              <a:t>ontinuously improve operational performance </a:t>
            </a:r>
          </a:p>
          <a:p>
            <a:pPr marL="571500" indent="-571500" algn="l" defTabSz="1213442">
              <a:buFont typeface="Wingdings" pitchFamily="2" charset="2"/>
              <a:buChar char="à"/>
              <a:defRPr/>
            </a:pPr>
            <a:r>
              <a:rPr lang="en-US" i="1" dirty="0">
                <a:solidFill>
                  <a:srgbClr val="FFFFFF"/>
                </a:solidFill>
                <a:latin typeface="IBM Plex Sans" panose="020B0503050203000203" pitchFamily="34" charset="0"/>
                <a:sym typeface="Wingdings" pitchFamily="2" charset="2"/>
              </a:rPr>
              <a:t>Identify opportunities for containerization and move workloads to cloud</a:t>
            </a:r>
          </a:p>
          <a:p>
            <a:pPr marL="571500" marR="0" lvl="0" indent="-571500" algn="l" defTabSz="1213442" rtl="0" eaLnBrk="1" fontAlgn="auto" latinLnBrk="0" hangingPunct="0">
              <a:lnSpc>
                <a:spcPct val="100000"/>
              </a:lnSpc>
              <a:spcBef>
                <a:spcPts val="0"/>
              </a:spcBef>
              <a:spcAft>
                <a:spcPts val="0"/>
              </a:spcAft>
              <a:buClrTx/>
              <a:buSzTx/>
              <a:buFont typeface="Wingdings" pitchFamily="2" charset="2"/>
              <a:buChar char="à"/>
              <a:tabLst/>
              <a:defRPr/>
            </a:pPr>
            <a:endParaRPr kumimoji="0" lang="en-US" sz="240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endParaRPr>
          </a:p>
        </p:txBody>
      </p:sp>
      <p:pic>
        <p:nvPicPr>
          <p:cNvPr id="9" name="Picture 8">
            <a:extLst>
              <a:ext uri="{FF2B5EF4-FFF2-40B4-BE49-F238E27FC236}">
                <a16:creationId xmlns:a16="http://schemas.microsoft.com/office/drawing/2014/main" id="{F284F948-72AC-7249-8407-E976A5423DDA}"/>
              </a:ext>
            </a:extLst>
          </p:cNvPr>
          <p:cNvPicPr>
            <a:picLocks noChangeAspect="1"/>
          </p:cNvPicPr>
          <p:nvPr/>
        </p:nvPicPr>
        <p:blipFill>
          <a:blip r:embed="rId6"/>
          <a:stretch>
            <a:fillRect/>
          </a:stretch>
        </p:blipFill>
        <p:spPr>
          <a:xfrm>
            <a:off x="4512899" y="5822055"/>
            <a:ext cx="1917700" cy="1352602"/>
          </a:xfrm>
          <a:prstGeom prst="rect">
            <a:avLst/>
          </a:prstGeom>
        </p:spPr>
      </p:pic>
      <p:pic>
        <p:nvPicPr>
          <p:cNvPr id="10" name="Picture 9">
            <a:extLst>
              <a:ext uri="{FF2B5EF4-FFF2-40B4-BE49-F238E27FC236}">
                <a16:creationId xmlns:a16="http://schemas.microsoft.com/office/drawing/2014/main" id="{0C9F4563-795A-7449-8673-F7717F504869}"/>
              </a:ext>
            </a:extLst>
          </p:cNvPr>
          <p:cNvPicPr>
            <a:picLocks noChangeAspect="1"/>
          </p:cNvPicPr>
          <p:nvPr/>
        </p:nvPicPr>
        <p:blipFill>
          <a:blip r:embed="rId7"/>
          <a:stretch>
            <a:fillRect/>
          </a:stretch>
        </p:blipFill>
        <p:spPr>
          <a:xfrm>
            <a:off x="2732944" y="2261194"/>
            <a:ext cx="2393360" cy="1305864"/>
          </a:xfrm>
          <a:prstGeom prst="rect">
            <a:avLst/>
          </a:prstGeom>
        </p:spPr>
      </p:pic>
      <p:pic>
        <p:nvPicPr>
          <p:cNvPr id="274" name="Picture 273">
            <a:extLst>
              <a:ext uri="{FF2B5EF4-FFF2-40B4-BE49-F238E27FC236}">
                <a16:creationId xmlns:a16="http://schemas.microsoft.com/office/drawing/2014/main" id="{08CA92A0-8ED9-564B-8770-07EE3CE0961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2229"/>
          <a:stretch/>
        </p:blipFill>
        <p:spPr>
          <a:xfrm>
            <a:off x="6808620" y="9657544"/>
            <a:ext cx="1325726" cy="1178276"/>
          </a:xfrm>
          <a:prstGeom prst="rect">
            <a:avLst/>
          </a:prstGeom>
        </p:spPr>
      </p:pic>
      <p:sp>
        <p:nvSpPr>
          <p:cNvPr id="269" name="TextBox 268">
            <a:extLst>
              <a:ext uri="{FF2B5EF4-FFF2-40B4-BE49-F238E27FC236}">
                <a16:creationId xmlns:a16="http://schemas.microsoft.com/office/drawing/2014/main" id="{D6D321D5-4990-9248-996B-45BFB0D1D62A}"/>
              </a:ext>
            </a:extLst>
          </p:cNvPr>
          <p:cNvSpPr txBox="1"/>
          <p:nvPr/>
        </p:nvSpPr>
        <p:spPr>
          <a:xfrm>
            <a:off x="5235113" y="2166378"/>
            <a:ext cx="15683912" cy="2062103"/>
          </a:xfrm>
          <a:prstGeom prst="rect">
            <a:avLst/>
          </a:prstGeom>
          <a:noFill/>
        </p:spPr>
        <p:txBody>
          <a:bodyPr wrap="square" rtlCol="0">
            <a:spAutoFit/>
          </a:bodyPr>
          <a:lstStyle/>
          <a:p>
            <a:pPr marL="0" marR="0" lvl="0" indent="0" algn="l" defTabSz="1213442" rtl="0" eaLnBrk="1" fontAlgn="auto" latinLnBrk="0" hangingPunct="0">
              <a:lnSpc>
                <a:spcPct val="100000"/>
              </a:lnSpc>
              <a:spcBef>
                <a:spcPts val="0"/>
              </a:spcBef>
              <a:spcAft>
                <a:spcPts val="0"/>
              </a:spcAft>
              <a:buClrTx/>
              <a:buSzTx/>
              <a:buFontTx/>
              <a:buNone/>
              <a:tabLst/>
              <a:defRPr/>
            </a:pPr>
            <a:r>
              <a:rPr kumimoji="0" lang="en-US" sz="2800" b="1" i="1" u="sng"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STRATEGIC ENGAGEMENT – CO-INNOVATION &amp; CONTINUOUS CONTROL</a:t>
            </a:r>
          </a:p>
          <a:p>
            <a:pPr marL="571500" marR="0" lvl="0" indent="-5715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C</a:t>
            </a: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Helvetica Neue"/>
              </a:rPr>
              <a:t>ombine operational models with </a:t>
            </a:r>
            <a:r>
              <a:rPr kumimoji="0" lang="en-US" sz="2400" b="1"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Helvetica Neue"/>
              </a:rPr>
              <a:t>AI driven insights</a:t>
            </a: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Helvetica Neue"/>
              </a:rPr>
              <a:t> – enabling and strategic actions</a:t>
            </a:r>
          </a:p>
          <a:p>
            <a:pPr marL="571500" marR="0" lvl="0" indent="-5715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Build native cloud applications - Enrich CX with low code and smart apps</a:t>
            </a:r>
          </a:p>
          <a:p>
            <a:pPr marL="571500" lvl="0" indent="-571500" algn="l" defTabSz="1213442">
              <a:buFont typeface="Wingdings" pitchFamily="2" charset="2"/>
              <a:buChar char="à"/>
              <a:defRPr/>
            </a:pPr>
            <a:r>
              <a:rPr lang="en-US" i="1" dirty="0">
                <a:solidFill>
                  <a:srgbClr val="FFFFFF"/>
                </a:solidFill>
                <a:latin typeface="IBM Plex Sans" panose="020B0503050203000203" pitchFamily="34" charset="0"/>
                <a:sym typeface="Wingdings" pitchFamily="2" charset="2"/>
              </a:rPr>
              <a:t>Real-time Data &amp; Analytics / Measurement of success </a:t>
            </a:r>
          </a:p>
          <a:p>
            <a:pPr marL="0" marR="0" lvl="0" indent="0" algn="l" defTabSz="1213442" rtl="0" eaLnBrk="1" fontAlgn="auto" latinLnBrk="0" hangingPunct="0">
              <a:lnSpc>
                <a:spcPct val="100000"/>
              </a:lnSpc>
              <a:spcBef>
                <a:spcPts val="0"/>
              </a:spcBef>
              <a:spcAft>
                <a:spcPts val="0"/>
              </a:spcAft>
              <a:buClrTx/>
              <a:buSzTx/>
              <a:buFontTx/>
              <a:buNone/>
              <a:tabLst/>
              <a:defRPr/>
            </a:pPr>
            <a:endParaRPr kumimoji="0" lang="en-US" sz="28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endParaRPr>
          </a:p>
        </p:txBody>
      </p:sp>
      <p:pic>
        <p:nvPicPr>
          <p:cNvPr id="2" name="Picture 1">
            <a:extLst>
              <a:ext uri="{FF2B5EF4-FFF2-40B4-BE49-F238E27FC236}">
                <a16:creationId xmlns:a16="http://schemas.microsoft.com/office/drawing/2014/main" id="{CFCC395B-0872-35EE-1F60-7D1EBF9B15CB}"/>
              </a:ext>
            </a:extLst>
          </p:cNvPr>
          <p:cNvPicPr>
            <a:picLocks noChangeAspect="1"/>
          </p:cNvPicPr>
          <p:nvPr/>
        </p:nvPicPr>
        <p:blipFill>
          <a:blip r:embed="rId9"/>
          <a:stretch>
            <a:fillRect/>
          </a:stretch>
        </p:blipFill>
        <p:spPr>
          <a:xfrm>
            <a:off x="19311587" y="98047"/>
            <a:ext cx="4678937" cy="3108851"/>
          </a:xfrm>
          <a:prstGeom prst="rect">
            <a:avLst/>
          </a:prstGeom>
        </p:spPr>
      </p:pic>
    </p:spTree>
    <p:extLst>
      <p:ext uri="{BB962C8B-B14F-4D97-AF65-F5344CB8AC3E}">
        <p14:creationId xmlns:p14="http://schemas.microsoft.com/office/powerpoint/2010/main" val="47345338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5">
            <a:extLst>
              <a:ext uri="{FF2B5EF4-FFF2-40B4-BE49-F238E27FC236}">
                <a16:creationId xmlns:a16="http://schemas.microsoft.com/office/drawing/2014/main" id="{60674824-9245-396E-EC2F-50AD1A8E7FAA}"/>
              </a:ext>
            </a:extLst>
          </p:cNvPr>
          <p:cNvGraphicFramePr>
            <a:graphicFrameLocks noGrp="1"/>
          </p:cNvGraphicFramePr>
          <p:nvPr>
            <p:extLst>
              <p:ext uri="{D42A27DB-BD31-4B8C-83A1-F6EECF244321}">
                <p14:modId xmlns:p14="http://schemas.microsoft.com/office/powerpoint/2010/main" val="3159814588"/>
              </p:ext>
            </p:extLst>
          </p:nvPr>
        </p:nvGraphicFramePr>
        <p:xfrm>
          <a:off x="5504513" y="5429834"/>
          <a:ext cx="18597098" cy="8231782"/>
        </p:xfrm>
        <a:graphic>
          <a:graphicData uri="http://schemas.openxmlformats.org/drawingml/2006/table">
            <a:tbl>
              <a:tblPr firstRow="1" bandRow="1">
                <a:tableStyleId>{5940675A-B579-460E-94D1-54222C63F5DA}</a:tableStyleId>
              </a:tblPr>
              <a:tblGrid>
                <a:gridCol w="6477470">
                  <a:extLst>
                    <a:ext uri="{9D8B030D-6E8A-4147-A177-3AD203B41FA5}">
                      <a16:colId xmlns:a16="http://schemas.microsoft.com/office/drawing/2014/main" val="3596387902"/>
                    </a:ext>
                  </a:extLst>
                </a:gridCol>
                <a:gridCol w="12119628">
                  <a:extLst>
                    <a:ext uri="{9D8B030D-6E8A-4147-A177-3AD203B41FA5}">
                      <a16:colId xmlns:a16="http://schemas.microsoft.com/office/drawing/2014/main" val="119664030"/>
                    </a:ext>
                  </a:extLst>
                </a:gridCol>
              </a:tblGrid>
              <a:tr h="5301257">
                <a:tc>
                  <a:txBody>
                    <a:bodyPr/>
                    <a:lstStyle/>
                    <a:p>
                      <a:pPr marL="0" indent="0" defTabSz="1828800">
                        <a:spcBef>
                          <a:spcPts val="2000"/>
                        </a:spcBef>
                        <a:buNone/>
                      </a:pPr>
                      <a:r>
                        <a:rPr lang="en-US" sz="3600" b="1" dirty="0">
                          <a:solidFill>
                            <a:schemeClr val="bg1"/>
                          </a:solidFill>
                        </a:rPr>
                        <a:t>Expected Outcome/ Benefits</a:t>
                      </a:r>
                    </a:p>
                    <a:p>
                      <a:pPr defTabSz="1828800">
                        <a:spcBef>
                          <a:spcPts val="2000"/>
                        </a:spcBef>
                      </a:pPr>
                      <a:r>
                        <a:rPr lang="en-US" sz="3600" dirty="0">
                          <a:solidFill>
                            <a:schemeClr val="bg1"/>
                          </a:solidFill>
                        </a:rPr>
                        <a:t> &lt; summary of benefits </a:t>
                      </a:r>
                    </a:p>
                    <a:p>
                      <a:pPr marL="571500" indent="-571500" defTabSz="1828800">
                        <a:spcBef>
                          <a:spcPts val="2000"/>
                        </a:spcBef>
                        <a:buFont typeface="Wingdings" pitchFamily="2" charset="2"/>
                        <a:buChar char="à"/>
                      </a:pPr>
                      <a:r>
                        <a:rPr lang="en-US" sz="3600" dirty="0">
                          <a:solidFill>
                            <a:schemeClr val="bg1"/>
                          </a:solidFill>
                          <a:sym typeface="Wingdings" pitchFamily="2" charset="2"/>
                        </a:rPr>
                        <a:t>Quantitative</a:t>
                      </a:r>
                    </a:p>
                    <a:p>
                      <a:pPr marL="571500" indent="-571500" defTabSz="1828800">
                        <a:spcBef>
                          <a:spcPts val="2000"/>
                        </a:spcBef>
                        <a:buFont typeface="Wingdings" pitchFamily="2" charset="2"/>
                        <a:buChar char="à"/>
                      </a:pPr>
                      <a:r>
                        <a:rPr lang="en-US" sz="3600" dirty="0">
                          <a:solidFill>
                            <a:schemeClr val="bg1"/>
                          </a:solidFill>
                          <a:sym typeface="Wingdings" pitchFamily="2" charset="2"/>
                        </a:rPr>
                        <a:t>Qualitative </a:t>
                      </a:r>
                      <a:r>
                        <a:rPr lang="en-US" sz="3600" dirty="0">
                          <a:solidFill>
                            <a:schemeClr val="bg1"/>
                          </a:solidFill>
                        </a:rPr>
                        <a:t>&gt;</a:t>
                      </a:r>
                    </a:p>
                    <a:p>
                      <a:pPr marL="571500" indent="-571500" defTabSz="1828800">
                        <a:spcBef>
                          <a:spcPts val="2000"/>
                        </a:spcBef>
                        <a:buFont typeface="Wingdings" pitchFamily="2" charset="2"/>
                        <a:buChar char="à"/>
                      </a:pPr>
                      <a:endParaRPr lang="en-US" sz="3600" dirty="0">
                        <a:solidFill>
                          <a:schemeClr val="bg1"/>
                        </a:solidFill>
                      </a:endParaRPr>
                    </a:p>
                    <a:p>
                      <a:pPr marL="571500" indent="-571500" defTabSz="1828800">
                        <a:spcBef>
                          <a:spcPts val="2000"/>
                        </a:spcBef>
                        <a:buFont typeface="Wingdings" pitchFamily="2" charset="2"/>
                        <a:buChar char="à"/>
                      </a:pPr>
                      <a:endParaRPr lang="en-US" sz="3600" dirty="0">
                        <a:solidFill>
                          <a:schemeClr val="bg1"/>
                        </a:solidFill>
                      </a:endParaRPr>
                    </a:p>
                    <a:p>
                      <a:pPr marL="571500" indent="-571500" defTabSz="1828800">
                        <a:spcBef>
                          <a:spcPts val="2000"/>
                        </a:spcBef>
                        <a:buFont typeface="Wingdings" pitchFamily="2" charset="2"/>
                        <a:buChar char="à"/>
                      </a:pPr>
                      <a:endParaRPr lang="en-US" sz="3600" dirty="0">
                        <a:solidFill>
                          <a:schemeClr val="bg1"/>
                        </a:solidFill>
                      </a:endParaRPr>
                    </a:p>
                  </a:txBody>
                  <a:tcPr>
                    <a:lnB w="12700" cap="flat" cmpd="sng" algn="ctr">
                      <a:noFill/>
                      <a:prstDash val="solid"/>
                      <a:round/>
                      <a:headEnd type="none" w="med" len="med"/>
                      <a:tailEnd type="none" w="med" len="med"/>
                    </a:lnB>
                    <a:solidFill>
                      <a:schemeClr val="tx1"/>
                    </a:solidFill>
                  </a:tcPr>
                </a:tc>
                <a:tc rowSpan="2">
                  <a:txBody>
                    <a:bodyPr/>
                    <a:lstStyle/>
                    <a:p>
                      <a:pPr marL="0" indent="0" defTabSz="1828800">
                        <a:spcBef>
                          <a:spcPts val="2000"/>
                        </a:spcBef>
                        <a:buNone/>
                      </a:pPr>
                      <a:r>
                        <a:rPr lang="en-AU" sz="3600" b="1" dirty="0">
                          <a:solidFill>
                            <a:schemeClr val="bg1"/>
                          </a:solidFill>
                        </a:rPr>
                        <a:t>IBM Technology Enablement </a:t>
                      </a:r>
                    </a:p>
                    <a:p>
                      <a:pPr marL="0" indent="0" defTabSz="1828800">
                        <a:spcBef>
                          <a:spcPts val="2000"/>
                        </a:spcBef>
                        <a:buNone/>
                      </a:pPr>
                      <a:r>
                        <a:rPr lang="en-AU" sz="3600" b="1" dirty="0">
                          <a:solidFill>
                            <a:schemeClr val="bg1"/>
                          </a:solidFill>
                        </a:rPr>
                        <a:t>&lt; Technical Approach&gt; </a:t>
                      </a:r>
                    </a:p>
                  </a:txBody>
                  <a:tcPr>
                    <a:lnB w="12700"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1605362665"/>
                  </a:ext>
                </a:extLst>
              </a:tr>
              <a:tr h="2775862">
                <a:tc>
                  <a:txBody>
                    <a:bodyPr/>
                    <a:lstStyle/>
                    <a:p>
                      <a:pPr marL="0" indent="0" defTabSz="1828800">
                        <a:spcBef>
                          <a:spcPts val="2000"/>
                        </a:spcBef>
                        <a:buNone/>
                      </a:pPr>
                      <a:r>
                        <a:rPr lang="en-US" sz="3600" b="1" dirty="0">
                          <a:solidFill>
                            <a:schemeClr val="bg1"/>
                          </a:solidFill>
                        </a:rPr>
                        <a:t>Measurement of Success </a:t>
                      </a:r>
                    </a:p>
                    <a:p>
                      <a:pPr marL="0" indent="0" defTabSz="1828800">
                        <a:spcBef>
                          <a:spcPts val="2000"/>
                        </a:spcBef>
                        <a:buNone/>
                      </a:pPr>
                      <a:r>
                        <a:rPr lang="en-US" sz="3600" b="0" dirty="0">
                          <a:solidFill>
                            <a:schemeClr val="bg1"/>
                          </a:solidFill>
                        </a:rPr>
                        <a:t>&lt;KPIs, …&gt; </a:t>
                      </a:r>
                    </a:p>
                  </a:txBody>
                  <a:tcPr>
                    <a:lnT w="12700" cmpd="sng">
                      <a:noFill/>
                    </a:lnT>
                    <a:lnB w="12700" cap="flat" cmpd="sng" algn="ctr">
                      <a:noFill/>
                      <a:prstDash val="solid"/>
                      <a:round/>
                      <a:headEnd type="none" w="med" len="med"/>
                      <a:tailEnd type="none" w="med" len="med"/>
                    </a:lnB>
                    <a:solidFill>
                      <a:schemeClr val="tx1"/>
                    </a:solidFill>
                  </a:tcPr>
                </a:tc>
                <a:tc vMerge="1">
                  <a:txBody>
                    <a:bodyPr/>
                    <a:lstStyle/>
                    <a:p>
                      <a:pPr defTabSz="1828800">
                        <a:spcBef>
                          <a:spcPts val="2000"/>
                        </a:spcBef>
                      </a:pPr>
                      <a:endParaRPr lang="en-US" sz="3600" dirty="0">
                        <a:solidFill>
                          <a:schemeClr val="bg1"/>
                        </a:solidFill>
                      </a:endParaRPr>
                    </a:p>
                  </a:txBody>
                  <a:tcPr>
                    <a:lnT w="12700" cmpd="sng">
                      <a:noFill/>
                    </a:lnT>
                    <a:lnB w="12700"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2547766967"/>
                  </a:ext>
                </a:extLst>
              </a:tr>
            </a:tbl>
          </a:graphicData>
        </a:graphic>
      </p:graphicFrame>
      <p:sp>
        <p:nvSpPr>
          <p:cNvPr id="11" name="Title 1">
            <a:extLst>
              <a:ext uri="{FF2B5EF4-FFF2-40B4-BE49-F238E27FC236}">
                <a16:creationId xmlns:a16="http://schemas.microsoft.com/office/drawing/2014/main" id="{EC8A8944-0C74-5A52-F622-E2DD2AD1E3F7}"/>
              </a:ext>
            </a:extLst>
          </p:cNvPr>
          <p:cNvSpPr>
            <a:spLocks noGrp="1"/>
          </p:cNvSpPr>
          <p:nvPr>
            <p:ph type="title"/>
          </p:nvPr>
        </p:nvSpPr>
        <p:spPr>
          <a:xfrm>
            <a:off x="64106" y="5887396"/>
            <a:ext cx="5022817" cy="5475538"/>
          </a:xfrm>
        </p:spPr>
        <p:txBody>
          <a:bodyPr/>
          <a:lstStyle/>
          <a:p>
            <a:pPr algn="ctr"/>
            <a:br>
              <a:rPr lang="en-AU" altLang="zh-CN" sz="7200" b="1" dirty="0">
                <a:solidFill>
                  <a:schemeClr val="dk1"/>
                </a:solidFill>
              </a:rPr>
            </a:br>
            <a:br>
              <a:rPr lang="en-AU" altLang="zh-CN" sz="7200" dirty="0">
                <a:solidFill>
                  <a:schemeClr val="dk1"/>
                </a:solidFill>
              </a:rPr>
            </a:br>
            <a:r>
              <a:rPr lang="en-AU" altLang="zh-CN" sz="5600" dirty="0">
                <a:solidFill>
                  <a:schemeClr val="bg2"/>
                </a:solidFill>
              </a:rPr>
              <a:t>&lt;use case name&gt;</a:t>
            </a:r>
            <a:endParaRPr lang="zh-TW" altLang="en-US" sz="7200" dirty="0">
              <a:solidFill>
                <a:schemeClr val="bg2"/>
              </a:solidFill>
            </a:endParaRPr>
          </a:p>
        </p:txBody>
      </p:sp>
      <p:sp>
        <p:nvSpPr>
          <p:cNvPr id="16" name="文本框 2">
            <a:extLst>
              <a:ext uri="{FF2B5EF4-FFF2-40B4-BE49-F238E27FC236}">
                <a16:creationId xmlns:a16="http://schemas.microsoft.com/office/drawing/2014/main" id="{7E912762-B047-D277-9B4C-7E9799EE0ABB}"/>
              </a:ext>
            </a:extLst>
          </p:cNvPr>
          <p:cNvSpPr txBox="1"/>
          <p:nvPr/>
        </p:nvSpPr>
        <p:spPr>
          <a:xfrm>
            <a:off x="3200401" y="9753601"/>
            <a:ext cx="184731" cy="646331"/>
          </a:xfrm>
          <a:prstGeom prst="rect">
            <a:avLst/>
          </a:prstGeom>
          <a:noFill/>
        </p:spPr>
        <p:txBody>
          <a:bodyPr wrap="none" rtlCol="0">
            <a:spAutoFit/>
          </a:bodyPr>
          <a:lstStyle/>
          <a:p>
            <a:pPr algn="l" defTabSz="1828800" hangingPunct="1"/>
            <a:endParaRPr kumimoji="1" lang="zh-CN" altLang="en-US" sz="3600" kern="1200">
              <a:solidFill>
                <a:prstClr val="black"/>
              </a:solidFill>
              <a:latin typeface="Calibri" panose="020F0502020204030204"/>
              <a:ea typeface="等线" panose="02010600030101010101" pitchFamily="2" charset="-122"/>
            </a:endParaRPr>
          </a:p>
        </p:txBody>
      </p:sp>
      <p:pic>
        <p:nvPicPr>
          <p:cNvPr id="17" name="Picture 8">
            <a:extLst>
              <a:ext uri="{FF2B5EF4-FFF2-40B4-BE49-F238E27FC236}">
                <a16:creationId xmlns:a16="http://schemas.microsoft.com/office/drawing/2014/main" id="{98A13402-B94A-1A7E-9BB8-138EBC39E3DB}"/>
              </a:ext>
            </a:extLst>
          </p:cNvPr>
          <p:cNvPicPr>
            <a:picLocks noChangeAspect="1"/>
          </p:cNvPicPr>
          <p:nvPr/>
        </p:nvPicPr>
        <p:blipFill>
          <a:blip r:embed="rId3">
            <a:alphaModFix amt="85000"/>
          </a:blip>
          <a:stretch>
            <a:fillRect/>
          </a:stretch>
        </p:blipFill>
        <p:spPr>
          <a:xfrm>
            <a:off x="106681" y="3633056"/>
            <a:ext cx="5022817" cy="3992782"/>
          </a:xfrm>
          <a:prstGeom prst="rect">
            <a:avLst/>
          </a:prstGeom>
        </p:spPr>
      </p:pic>
      <p:sp>
        <p:nvSpPr>
          <p:cNvPr id="18" name="Process 17">
            <a:extLst>
              <a:ext uri="{FF2B5EF4-FFF2-40B4-BE49-F238E27FC236}">
                <a16:creationId xmlns:a16="http://schemas.microsoft.com/office/drawing/2014/main" id="{EDAA9E97-D0D2-9A56-AEDD-9C467D9D7741}"/>
              </a:ext>
            </a:extLst>
          </p:cNvPr>
          <p:cNvSpPr/>
          <p:nvPr/>
        </p:nvSpPr>
        <p:spPr>
          <a:xfrm>
            <a:off x="64106" y="173256"/>
            <a:ext cx="5022817" cy="3324348"/>
          </a:xfrm>
          <a:prstGeom prst="flowChartProcess">
            <a:avLst/>
          </a:prstGeom>
          <a:noFill/>
          <a:ln w="19050">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4800" kern="1200" dirty="0">
                <a:solidFill>
                  <a:srgbClr val="7F7F7F"/>
                </a:solidFill>
                <a:latin typeface="Calibri" panose="020F0502020204030204"/>
              </a:rPr>
              <a:t>Customer </a:t>
            </a:r>
          </a:p>
          <a:p>
            <a:pPr defTabSz="1828800" hangingPunct="1"/>
            <a:r>
              <a:rPr lang="en-US" sz="4800" kern="1200" dirty="0">
                <a:solidFill>
                  <a:srgbClr val="7F7F7F"/>
                </a:solidFill>
                <a:latin typeface="Calibri" panose="020F0502020204030204"/>
              </a:rPr>
              <a:t>Logo</a:t>
            </a:r>
          </a:p>
        </p:txBody>
      </p:sp>
      <p:pic>
        <p:nvPicPr>
          <p:cNvPr id="20" name="Picture 19">
            <a:extLst>
              <a:ext uri="{FF2B5EF4-FFF2-40B4-BE49-F238E27FC236}">
                <a16:creationId xmlns:a16="http://schemas.microsoft.com/office/drawing/2014/main" id="{5727B275-73C5-E8F2-85ED-837FC6F44F5A}"/>
              </a:ext>
            </a:extLst>
          </p:cNvPr>
          <p:cNvPicPr>
            <a:picLocks noChangeAspect="1"/>
          </p:cNvPicPr>
          <p:nvPr/>
        </p:nvPicPr>
        <p:blipFill>
          <a:blip r:embed="rId4"/>
          <a:stretch>
            <a:fillRect/>
          </a:stretch>
        </p:blipFill>
        <p:spPr>
          <a:xfrm>
            <a:off x="22576039" y="12468688"/>
            <a:ext cx="1460258" cy="1096702"/>
          </a:xfrm>
          <a:prstGeom prst="rect">
            <a:avLst/>
          </a:prstGeom>
        </p:spPr>
      </p:pic>
      <p:sp>
        <p:nvSpPr>
          <p:cNvPr id="21" name="Right Arrow 20">
            <a:extLst>
              <a:ext uri="{FF2B5EF4-FFF2-40B4-BE49-F238E27FC236}">
                <a16:creationId xmlns:a16="http://schemas.microsoft.com/office/drawing/2014/main" id="{E96F0078-BBC4-EFF0-400C-0FD8B980235E}"/>
              </a:ext>
            </a:extLst>
          </p:cNvPr>
          <p:cNvSpPr/>
          <p:nvPr/>
        </p:nvSpPr>
        <p:spPr>
          <a:xfrm>
            <a:off x="1081020" y="9126396"/>
            <a:ext cx="3500686" cy="1566811"/>
          </a:xfrm>
          <a:prstGeom prst="rightArrow">
            <a:avLst/>
          </a:prstGeom>
          <a:solidFill>
            <a:srgbClr val="FFC000"/>
          </a:solidFill>
        </p:spPr>
        <p:txBody>
          <a:bodyPr wrap="square" lIns="0" tIns="0" rIns="0" bIns="0" rtlCol="0" anchor="ctr">
            <a:noAutofit/>
          </a:bodyPr>
          <a:lstStyle/>
          <a:p>
            <a:pPr defTabSz="1828800" hangingPunct="1"/>
            <a:r>
              <a:rPr lang="en-US" b="1" kern="1200" dirty="0">
                <a:solidFill>
                  <a:srgbClr val="000000"/>
                </a:solidFill>
                <a:latin typeface="Arial"/>
                <a:cs typeface="Arial"/>
              </a:rPr>
              <a:t>INITIATIVE 1</a:t>
            </a:r>
          </a:p>
        </p:txBody>
      </p:sp>
      <p:graphicFrame>
        <p:nvGraphicFramePr>
          <p:cNvPr id="22" name="Table 5">
            <a:extLst>
              <a:ext uri="{FF2B5EF4-FFF2-40B4-BE49-F238E27FC236}">
                <a16:creationId xmlns:a16="http://schemas.microsoft.com/office/drawing/2014/main" id="{81805FC9-A9D7-F07D-5661-B3DF0334EBB6}"/>
              </a:ext>
            </a:extLst>
          </p:cNvPr>
          <p:cNvGraphicFramePr>
            <a:graphicFrameLocks noGrp="1"/>
          </p:cNvGraphicFramePr>
          <p:nvPr>
            <p:extLst>
              <p:ext uri="{D42A27DB-BD31-4B8C-83A1-F6EECF244321}">
                <p14:modId xmlns:p14="http://schemas.microsoft.com/office/powerpoint/2010/main" val="2974698586"/>
              </p:ext>
            </p:extLst>
          </p:nvPr>
        </p:nvGraphicFramePr>
        <p:xfrm>
          <a:off x="5504513" y="173256"/>
          <a:ext cx="18597098" cy="5181600"/>
        </p:xfrm>
        <a:graphic>
          <a:graphicData uri="http://schemas.openxmlformats.org/drawingml/2006/table">
            <a:tbl>
              <a:tblPr firstRow="1" bandRow="1">
                <a:tableStyleId>{5940675A-B579-460E-94D1-54222C63F5DA}</a:tableStyleId>
              </a:tblPr>
              <a:tblGrid>
                <a:gridCol w="10034710">
                  <a:extLst>
                    <a:ext uri="{9D8B030D-6E8A-4147-A177-3AD203B41FA5}">
                      <a16:colId xmlns:a16="http://schemas.microsoft.com/office/drawing/2014/main" val="3596387902"/>
                    </a:ext>
                  </a:extLst>
                </a:gridCol>
                <a:gridCol w="8562388">
                  <a:extLst>
                    <a:ext uri="{9D8B030D-6E8A-4147-A177-3AD203B41FA5}">
                      <a16:colId xmlns:a16="http://schemas.microsoft.com/office/drawing/2014/main" val="206491287"/>
                    </a:ext>
                  </a:extLst>
                </a:gridCol>
              </a:tblGrid>
              <a:tr h="3042634">
                <a:tc>
                  <a:txBody>
                    <a:bodyPr/>
                    <a:lstStyle/>
                    <a:p>
                      <a:pPr marL="0" indent="0" defTabSz="1828800">
                        <a:spcBef>
                          <a:spcPts val="2000"/>
                        </a:spcBef>
                        <a:buNone/>
                      </a:pPr>
                      <a:r>
                        <a:rPr lang="en-US" sz="3600" b="1" dirty="0">
                          <a:solidFill>
                            <a:schemeClr val="bg1"/>
                          </a:solidFill>
                        </a:rPr>
                        <a:t>Use Case Summary </a:t>
                      </a:r>
                    </a:p>
                    <a:p>
                      <a:pPr defTabSz="1828800">
                        <a:spcBef>
                          <a:spcPts val="2000"/>
                        </a:spcBef>
                      </a:pPr>
                      <a:r>
                        <a:rPr lang="en-US" sz="3600" dirty="0">
                          <a:solidFill>
                            <a:schemeClr val="bg1"/>
                          </a:solidFill>
                        </a:rPr>
                        <a:t> &lt; including background information / business impact – resonance to related Initiatives &gt;</a:t>
                      </a:r>
                    </a:p>
                  </a:txBody>
                  <a:tcPr>
                    <a:solidFill>
                      <a:schemeClr val="accent1"/>
                    </a:solidFill>
                  </a:tcPr>
                </a:tc>
                <a:tc>
                  <a:txBody>
                    <a:bodyPr/>
                    <a:lstStyle/>
                    <a:p>
                      <a:pPr marL="0" indent="0" defTabSz="1828800">
                        <a:spcBef>
                          <a:spcPts val="2000"/>
                        </a:spcBef>
                        <a:buNone/>
                      </a:pPr>
                      <a:r>
                        <a:rPr lang="en-US" sz="3600" b="1" dirty="0">
                          <a:solidFill>
                            <a:schemeClr val="bg1"/>
                          </a:solidFill>
                        </a:rPr>
                        <a:t>Challenges </a:t>
                      </a:r>
                    </a:p>
                    <a:p>
                      <a:pPr defTabSz="1828800">
                        <a:spcBef>
                          <a:spcPts val="2000"/>
                        </a:spcBef>
                      </a:pPr>
                      <a:r>
                        <a:rPr lang="en-US" sz="3600" dirty="0">
                          <a:solidFill>
                            <a:schemeClr val="bg1"/>
                          </a:solidFill>
                        </a:rPr>
                        <a:t> &lt; </a:t>
                      </a:r>
                      <a:r>
                        <a:rPr lang="en-AU" sz="3600" dirty="0">
                          <a:solidFill>
                            <a:schemeClr val="bg1"/>
                          </a:solidFill>
                        </a:rPr>
                        <a:t>inhibitors, risks,..&gt;</a:t>
                      </a:r>
                      <a:endParaRPr lang="en-US" sz="2800" kern="0" dirty="0">
                        <a:solidFill>
                          <a:prstClr val="white"/>
                        </a:solidFill>
                      </a:endParaRPr>
                    </a:p>
                    <a:p>
                      <a:endParaRPr lang="en-US" dirty="0"/>
                    </a:p>
                  </a:txBody>
                  <a:tcPr>
                    <a:solidFill>
                      <a:schemeClr val="accent1"/>
                    </a:solidFill>
                  </a:tcPr>
                </a:tc>
                <a:extLst>
                  <a:ext uri="{0D108BD9-81ED-4DB2-BD59-A6C34878D82A}">
                    <a16:rowId xmlns:a16="http://schemas.microsoft.com/office/drawing/2014/main" val="1605362665"/>
                  </a:ext>
                </a:extLst>
              </a:tr>
              <a:tr h="2138966">
                <a:tc gridSpan="2">
                  <a:txBody>
                    <a:bodyPr/>
                    <a:lstStyle/>
                    <a:p>
                      <a:pPr marL="0" indent="0" defTabSz="1828800">
                        <a:spcBef>
                          <a:spcPts val="2000"/>
                        </a:spcBef>
                        <a:buNone/>
                      </a:pPr>
                      <a:r>
                        <a:rPr lang="en-US" sz="3600" b="1" dirty="0">
                          <a:solidFill>
                            <a:schemeClr val="bg1"/>
                          </a:solidFill>
                        </a:rPr>
                        <a:t>Target Users </a:t>
                      </a:r>
                    </a:p>
                    <a:p>
                      <a:pPr defTabSz="1828800">
                        <a:spcBef>
                          <a:spcPts val="2000"/>
                        </a:spcBef>
                      </a:pPr>
                      <a:r>
                        <a:rPr lang="en-US" sz="3600" dirty="0">
                          <a:solidFill>
                            <a:schemeClr val="bg1"/>
                          </a:solidFill>
                        </a:rPr>
                        <a:t> &lt; end users&gt;</a:t>
                      </a:r>
                    </a:p>
                  </a:txBody>
                  <a:tcPr>
                    <a:solidFill>
                      <a:schemeClr val="accent1"/>
                    </a:solidFill>
                  </a:tcPr>
                </a:tc>
                <a:tc hMerge="1">
                  <a:txBody>
                    <a:bodyPr/>
                    <a:lstStyle/>
                    <a:p>
                      <a:endParaRPr lang="en-US" dirty="0"/>
                    </a:p>
                  </a:txBody>
                  <a:tcPr>
                    <a:solidFill>
                      <a:schemeClr val="accent1"/>
                    </a:solidFill>
                  </a:tcPr>
                </a:tc>
                <a:extLst>
                  <a:ext uri="{0D108BD9-81ED-4DB2-BD59-A6C34878D82A}">
                    <a16:rowId xmlns:a16="http://schemas.microsoft.com/office/drawing/2014/main" val="1479361583"/>
                  </a:ext>
                </a:extLst>
              </a:tr>
            </a:tbl>
          </a:graphicData>
        </a:graphic>
      </p:graphicFrame>
      <p:grpSp>
        <p:nvGrpSpPr>
          <p:cNvPr id="23" name="Group 22">
            <a:extLst>
              <a:ext uri="{FF2B5EF4-FFF2-40B4-BE49-F238E27FC236}">
                <a16:creationId xmlns:a16="http://schemas.microsoft.com/office/drawing/2014/main" id="{C36C946D-D306-9707-A263-9523DBE2F232}"/>
              </a:ext>
            </a:extLst>
          </p:cNvPr>
          <p:cNvGrpSpPr/>
          <p:nvPr/>
        </p:nvGrpSpPr>
        <p:grpSpPr>
          <a:xfrm>
            <a:off x="-24159" y="12746615"/>
            <a:ext cx="5022816" cy="889000"/>
            <a:chOff x="32436" y="6465564"/>
            <a:chExt cx="2302504" cy="444500"/>
          </a:xfrm>
        </p:grpSpPr>
        <p:pic>
          <p:nvPicPr>
            <p:cNvPr id="24" name="Picture 23" descr="Shape&#10;&#10;Description automatically generated with low confidence">
              <a:extLst>
                <a:ext uri="{FF2B5EF4-FFF2-40B4-BE49-F238E27FC236}">
                  <a16:creationId xmlns:a16="http://schemas.microsoft.com/office/drawing/2014/main" id="{8846CEA6-4A42-F7DF-D409-48AC28EC8225}"/>
                </a:ext>
              </a:extLst>
            </p:cNvPr>
            <p:cNvPicPr>
              <a:picLocks noChangeAspect="1"/>
            </p:cNvPicPr>
            <p:nvPr/>
          </p:nvPicPr>
          <p:blipFill>
            <a:blip r:embed="rId5"/>
            <a:stretch>
              <a:fillRect/>
            </a:stretch>
          </p:blipFill>
          <p:spPr>
            <a:xfrm>
              <a:off x="32436" y="6465564"/>
              <a:ext cx="444500" cy="444500"/>
            </a:xfrm>
            <a:prstGeom prst="rect">
              <a:avLst/>
            </a:prstGeom>
          </p:spPr>
        </p:pic>
        <p:pic>
          <p:nvPicPr>
            <p:cNvPr id="25" name="Picture 24" descr="A picture containing building&#10;&#10;Description automatically generated">
              <a:extLst>
                <a:ext uri="{FF2B5EF4-FFF2-40B4-BE49-F238E27FC236}">
                  <a16:creationId xmlns:a16="http://schemas.microsoft.com/office/drawing/2014/main" id="{C61DB9CF-8ED7-B5AC-3225-A4B17F02C424}"/>
                </a:ext>
              </a:extLst>
            </p:cNvPr>
            <p:cNvPicPr>
              <a:picLocks noChangeAspect="1"/>
            </p:cNvPicPr>
            <p:nvPr/>
          </p:nvPicPr>
          <p:blipFill>
            <a:blip r:embed="rId6"/>
            <a:stretch>
              <a:fillRect/>
            </a:stretch>
          </p:blipFill>
          <p:spPr>
            <a:xfrm>
              <a:off x="1553960" y="6529896"/>
              <a:ext cx="780980" cy="315837"/>
            </a:xfrm>
            <a:prstGeom prst="rect">
              <a:avLst/>
            </a:prstGeom>
          </p:spPr>
        </p:pic>
      </p:grpSp>
      <p:sp>
        <p:nvSpPr>
          <p:cNvPr id="13" name="Star">
            <a:extLst>
              <a:ext uri="{FF2B5EF4-FFF2-40B4-BE49-F238E27FC236}">
                <a16:creationId xmlns:a16="http://schemas.microsoft.com/office/drawing/2014/main" id="{8BDBF633-9A21-1F46-6233-6D28F5B95E56}"/>
              </a:ext>
            </a:extLst>
          </p:cNvPr>
          <p:cNvSpPr/>
          <p:nvPr/>
        </p:nvSpPr>
        <p:spPr>
          <a:xfrm rot="20898906">
            <a:off x="18238572" y="6205894"/>
            <a:ext cx="5521497" cy="209698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u="sng" dirty="0">
                <a:solidFill>
                  <a:srgbClr val="FFFFFF"/>
                </a:solidFill>
                <a:latin typeface="Helvetica Neue Medium"/>
                <a:ea typeface="Helvetica Neue Medium"/>
                <a:cs typeface="Helvetica Neue Medium"/>
                <a:sym typeface="Helvetica Neue Medium"/>
              </a:rPr>
              <a:t>NOTE</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u="sng" dirty="0">
                <a:solidFill>
                  <a:srgbClr val="FFFFFF"/>
                </a:solidFill>
                <a:latin typeface="Helvetica Neue Medium"/>
                <a:ea typeface="Helvetica Neue Medium"/>
                <a:cs typeface="Helvetica Neue Medium"/>
                <a:sym typeface="Helvetica Neue Medium"/>
              </a:rPr>
              <a:t>TECH LED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WITH BUSINESS IMPACT</a:t>
            </a:r>
            <a:endPar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1799995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cJaeiYTpHC6HbK7isP3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S_UNIQUEID" val="2884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oEhZPMQMHknqjD5zvuSUA"/>
</p:tagLst>
</file>

<file path=ppt/theme/theme1.xml><?xml version="1.0" encoding="utf-8"?>
<a:theme xmlns:a="http://schemas.openxmlformats.org/drawingml/2006/main" name="21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0.xml><?xml version="1.0" encoding="utf-8"?>
<a:theme xmlns:a="http://schemas.openxmlformats.org/drawingml/2006/main" name="22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1.xml><?xml version="1.0" encoding="utf-8"?>
<a:theme xmlns:a="http://schemas.openxmlformats.org/drawingml/2006/main" name="24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2.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BM BxD 2018 black background">
  <a:themeElements>
    <a:clrScheme name="IBM BxD palette 2018">
      <a:dk1>
        <a:srgbClr val="FFFFFF"/>
      </a:dk1>
      <a:lt1>
        <a:srgbClr val="000000"/>
      </a:lt1>
      <a:dk2>
        <a:srgbClr val="565656"/>
      </a:dk2>
      <a:lt2>
        <a:srgbClr val="F3F3F3"/>
      </a:lt2>
      <a:accent1>
        <a:srgbClr val="767676"/>
      </a:accent1>
      <a:accent2>
        <a:srgbClr val="0F6FFF"/>
      </a:accent2>
      <a:accent3>
        <a:srgbClr val="D7306D"/>
      </a:accent3>
      <a:accent4>
        <a:srgbClr val="924CFC"/>
      </a:accent4>
      <a:accent5>
        <a:srgbClr val="008381"/>
      </a:accent5>
      <a:accent6>
        <a:srgbClr val="6E757C"/>
      </a:accent6>
      <a:hlink>
        <a:srgbClr val="0F6FFF"/>
      </a:hlink>
      <a:folHlink>
        <a:srgbClr val="6EA6FF"/>
      </a:folHlink>
    </a:clrScheme>
    <a:fontScheme name="IBM Plex">
      <a:majorFont>
        <a:latin typeface="IBM Plex Sans SemiBold"/>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HelvNeue Light for IBM"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4F0027"/>
    </a:custClr>
    <a:custClr name="Magenta 80">
      <a:srgbClr val="760A3A"/>
    </a:custClr>
    <a:custClr name="Magenta 70">
      <a:srgbClr val="A11950"/>
    </a:custClr>
    <a:custClr name="Magenta 60">
      <a:srgbClr val="D7306D"/>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21260"/>
    </a:custClr>
    <a:custClr name="Purple 80">
      <a:srgbClr val="4F2196"/>
    </a:custClr>
    <a:custClr name="Purple 70">
      <a:srgbClr val="6E32C9"/>
    </a:custClr>
    <a:custClr name="Purple 60">
      <a:srgbClr val="924CFC"/>
    </a:custClr>
    <a:custClr name="Purple 50">
      <a:srgbClr val="A970FF"/>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51B75"/>
    </a:custClr>
    <a:custClr name="Blue 80">
      <a:srgbClr val="0530AD"/>
    </a:custClr>
    <a:custClr name="Blue 70">
      <a:srgbClr val="054ADA"/>
    </a:custClr>
    <a:custClr name="Blue 60">
      <a:srgbClr val="0F6FFF"/>
    </a:custClr>
    <a:custClr name="Blue 50">
      <a:srgbClr val="418CFF"/>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2B30"/>
    </a:custClr>
    <a:custClr name="Teal 80">
      <a:srgbClr val="004548"/>
    </a:custClr>
    <a:custClr name="Teal 70">
      <a:srgbClr val="006161"/>
    </a:custClr>
    <a:custClr name="Teal 60">
      <a:srgbClr val="008381"/>
    </a:custClr>
    <a:custClr name="Teal 50">
      <a:srgbClr val="009E9A"/>
    </a:custClr>
    <a:custClr name="Teal 40">
      <a:srgbClr val="00BAB6"/>
    </a:custClr>
    <a:custClr name="Teal 30">
      <a:srgbClr val="20D5D2"/>
    </a:custClr>
    <a:custClr name="Teal 20">
      <a:srgbClr val="87EDED"/>
    </a:custClr>
    <a:custClr name="Teal 10">
      <a:srgbClr val="DBFBFB"/>
    </a:custClr>
    <a:custClr name="Gray 100">
      <a:srgbClr val="171717"/>
    </a:custClr>
    <a:custClr name="Gray 90">
      <a:srgbClr val="252525"/>
    </a:custClr>
    <a:custClr name="Gray 80">
      <a:srgbClr val="3D3D3D"/>
    </a:custClr>
    <a:custClr name="Gray 70">
      <a:srgbClr val="565656"/>
    </a:custClr>
    <a:custClr name="Gray 60">
      <a:srgbClr val="767676"/>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Plex_16x9" id="{0EA35D9A-8E1D-664A-808E-93BABB999E0C}" vid="{C91237CF-0D5A-0E40-B517-BDEDD4BD6E46}"/>
    </a:ext>
  </a:extLst>
</a:theme>
</file>

<file path=ppt/theme/theme3.xml><?xml version="1.0" encoding="utf-8"?>
<a:theme xmlns:a="http://schemas.openxmlformats.org/drawingml/2006/main" name="2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29" id="{C2715693-8199-FA4F-AB5A-2971AAF1B15D}" vid="{3417973E-6BA5-F845-AB04-F5933727451B}"/>
    </a:ext>
  </a:extLst>
</a:theme>
</file>

<file path=ppt/theme/theme4.xml><?xml version="1.0" encoding="utf-8"?>
<a:theme xmlns:a="http://schemas.openxmlformats.org/drawingml/2006/main" name="3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Arial" id="{A2B647AA-91AA-E84C-9282-62E98195C9E1}" vid="{BDCD5089-E7A6-4A42-ABCF-1EC7BACDC585}"/>
    </a:ext>
  </a:extLst>
</a:theme>
</file>

<file path=ppt/theme/theme5.xml><?xml version="1.0" encoding="utf-8"?>
<a:theme xmlns:a="http://schemas.openxmlformats.org/drawingml/2006/main" name="IBM 2020 Master template (light gray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 id="{E53BEFB9-BD3E-6B49-81E6-0159AFA54850}" vid="{12FE36E4-47ED-5A48-A6D4-2B7C1E819EF1}"/>
    </a:ext>
  </a:extLst>
</a:theme>
</file>

<file path=ppt/theme/theme6.xml><?xml version="1.0" encoding="utf-8"?>
<a:theme xmlns:a="http://schemas.openxmlformats.org/drawingml/2006/main" name="IBM Security Master Presentation - Arial">
  <a:themeElements>
    <a:clrScheme name="Custom 2">
      <a:dk1>
        <a:srgbClr val="FFFFFF"/>
      </a:dk1>
      <a:lt1>
        <a:srgbClr val="000000"/>
      </a:lt1>
      <a:dk2>
        <a:srgbClr val="F2F3F8"/>
      </a:dk2>
      <a:lt2>
        <a:srgbClr val="373C41"/>
      </a:lt2>
      <a:accent1>
        <a:srgbClr val="D5D9E0"/>
      </a:accent1>
      <a:accent2>
        <a:srgbClr val="0061FF"/>
      </a:accent2>
      <a:accent3>
        <a:srgbClr val="8A3FFC"/>
      </a:accent3>
      <a:accent4>
        <a:srgbClr val="30B0FF"/>
      </a:accent4>
      <a:accent5>
        <a:srgbClr val="BB8EFF"/>
      </a:accent5>
      <a:accent6>
        <a:srgbClr val="9FA5AD"/>
      </a:accent6>
      <a:hlink>
        <a:srgbClr val="4088FC"/>
      </a:hlink>
      <a:folHlink>
        <a:srgbClr val="4088F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miter lim="800000"/>
          <a:headEnd type="none" w="med" len="med"/>
          <a:tailEnd type="none" w="med" len="med"/>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rgbClr val="191919"/>
            </a:solidFill>
            <a:effectLst/>
            <a:latin typeface="Arial" panose="020B0604020202020204" pitchFamily="34" charset="0"/>
            <a:cs typeface="Arial" panose="020B0604020202020204"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Arial" panose="020B0604020202020204" pitchFamily="34" charset="0"/>
            <a:ea typeface="IBM Plex Sans" charset="0"/>
            <a:cs typeface="Arial" panose="020B0604020202020204" pitchFamily="34" charset="0"/>
          </a:defRPr>
        </a:defPPr>
      </a:lstStyle>
    </a:txDef>
  </a:objectDefaults>
  <a:extraClrSchemeLst/>
  <a:custClrLst>
    <a:custClr name="Cool Gray 100">
      <a:srgbClr val="13171A"/>
    </a:custClr>
    <a:custClr name="Cool Gray 90">
      <a:srgbClr val="242A2E"/>
    </a:custClr>
    <a:custClr name="Cool Gray 80">
      <a:srgbClr val="373D42"/>
    </a:custClr>
    <a:custClr name="Cool Gray 70">
      <a:srgbClr val="50565B"/>
    </a:custClr>
    <a:custClr name="Cool Gray 60">
      <a:srgbClr val="697077"/>
    </a:custClr>
    <a:custClr name="Cool Gray 50">
      <a:srgbClr val="868D95"/>
    </a:custClr>
    <a:custClr name="Cool Gray 40">
      <a:srgbClr val="9FA5AD"/>
    </a:custClr>
    <a:custClr name="Cool Gray 30">
      <a:srgbClr val="B9BFC7"/>
    </a:custClr>
    <a:custClr name="Cool Gray 20">
      <a:srgbClr val="D5D9E0"/>
    </a:custClr>
    <a:custClr name="Cool Gray 10">
      <a:srgbClr val="F2F4F8"/>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Cyan 100">
      <a:srgbClr val="07192B"/>
    </a:custClr>
    <a:custClr name="Cyan 90">
      <a:srgbClr val="002B50"/>
    </a:custClr>
    <a:custClr name="Cyan 80">
      <a:srgbClr val="003D73"/>
    </a:custClr>
    <a:custClr name="Cyan 70">
      <a:srgbClr val="0058A1"/>
    </a:custClr>
    <a:custClr name="Cyan 60">
      <a:srgbClr val="0072C3"/>
    </a:custClr>
    <a:custClr name="Cyan 50">
      <a:srgbClr val="1191E6"/>
    </a:custClr>
    <a:custClr name="Cyan 40">
      <a:srgbClr val="30B0FF"/>
    </a:custClr>
    <a:custClr name="Cyan 30">
      <a:srgbClr val="6CCAFF"/>
    </a:custClr>
    <a:custClr name="Cyan 20">
      <a:srgbClr val="B3E6FF"/>
    </a:custClr>
    <a:custClr name="Cyan 10">
      <a:srgbClr val="E3F6FF"/>
    </a:custClr>
    <a:custClr name="Red 100">
      <a:srgbClr val="2C080A"/>
    </a:custClr>
    <a:custClr name="Red 90">
      <a:srgbClr val="570408"/>
    </a:custClr>
    <a:custClr name="Red 80">
      <a:srgbClr val="750E13"/>
    </a:custClr>
    <a:custClr name="Red 70">
      <a:srgbClr val="A51920"/>
    </a:custClr>
    <a:custClr name="Red 60">
      <a:srgbClr val="DA1E28"/>
    </a:custClr>
    <a:custClr name="Red 50">
      <a:srgbClr val="FB4B53"/>
    </a:custClr>
    <a:custClr name="Red 40">
      <a:srgbClr val="FF767C"/>
    </a:custClr>
    <a:custClr name="Red 30">
      <a:srgbClr val="FFA4A9"/>
    </a:custClr>
    <a:custClr name="Red 20">
      <a:srgbClr val="FCD0D3"/>
    </a:custClr>
    <a:custClr name="Red 10">
      <a:srgbClr val="FFF0F1"/>
    </a:custClr>
  </a:custClrLst>
  <a:extLst>
    <a:ext uri="{05A4C25C-085E-4340-85A3-A5531E510DB2}">
      <thm15:themeFamily xmlns:thm15="http://schemas.microsoft.com/office/thememl/2012/main" name="IBM_Security_Master_Presentation_2019_V05_Arial" id="{B548CAF4-1C0A-4D4B-945A-4E9665F97905}" vid="{3D68C1EA-2AF7-7D45-80C9-CAAA12A9DD22}"/>
    </a:ext>
  </a:extLst>
</a:theme>
</file>

<file path=ppt/theme/theme7.xml><?xml version="1.0" encoding="utf-8"?>
<a:theme xmlns:a="http://schemas.openxmlformats.org/drawingml/2006/main" name="2_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2018_V01_Plex" id="{E4F078EA-58AF-6C4E-BE35-690E66F1C43A}" vid="{CBAA68B9-7875-FE41-9AE2-43D2BA4EACF6}"/>
    </a:ext>
  </a:extLst>
</a:theme>
</file>

<file path=ppt/theme/theme8.xml><?xml version="1.0" encoding="utf-8"?>
<a:theme xmlns:a="http://schemas.openxmlformats.org/drawingml/2006/main" name="2_Dark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tailEnd type="triangle"/>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HCD PPT Theme">
  <a:themeElements>
    <a:clrScheme name="HCD 1">
      <a:dk1>
        <a:srgbClr val="0B2545"/>
      </a:dk1>
      <a:lt1>
        <a:sysClr val="window" lastClr="FFFFFF"/>
      </a:lt1>
      <a:dk2>
        <a:srgbClr val="274C77"/>
      </a:dk2>
      <a:lt2>
        <a:srgbClr val="EEECE1"/>
      </a:lt2>
      <a:accent1>
        <a:srgbClr val="0B2545"/>
      </a:accent1>
      <a:accent2>
        <a:srgbClr val="274C77"/>
      </a:accent2>
      <a:accent3>
        <a:srgbClr val="5AA1E3"/>
      </a:accent3>
      <a:accent4>
        <a:srgbClr val="A3CEF1"/>
      </a:accent4>
      <a:accent5>
        <a:srgbClr val="8DA9C4"/>
      </a:accent5>
      <a:accent6>
        <a:srgbClr val="B40125"/>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IBM">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20141</TotalTime>
  <Words>3714</Words>
  <Application>Microsoft Macintosh PowerPoint</Application>
  <PresentationFormat>Custom</PresentationFormat>
  <Paragraphs>757</Paragraphs>
  <Slides>25</Slides>
  <Notes>20</Notes>
  <HiddenSlides>0</HiddenSlides>
  <MMClips>0</MMClips>
  <ScaleCrop>false</ScaleCrop>
  <HeadingPairs>
    <vt:vector size="8" baseType="variant">
      <vt:variant>
        <vt:lpstr>Fonts Used</vt:lpstr>
      </vt:variant>
      <vt:variant>
        <vt:i4>15</vt:i4>
      </vt:variant>
      <vt:variant>
        <vt:lpstr>Theme</vt:lpstr>
      </vt:variant>
      <vt:variant>
        <vt:i4>11</vt:i4>
      </vt:variant>
      <vt:variant>
        <vt:lpstr>Embedded OLE Servers</vt:lpstr>
      </vt:variant>
      <vt:variant>
        <vt:i4>2</vt:i4>
      </vt:variant>
      <vt:variant>
        <vt:lpstr>Slide Titles</vt:lpstr>
      </vt:variant>
      <vt:variant>
        <vt:i4>25</vt:i4>
      </vt:variant>
    </vt:vector>
  </HeadingPairs>
  <TitlesOfParts>
    <vt:vector size="53" baseType="lpstr">
      <vt:lpstr>STXingkai</vt:lpstr>
      <vt:lpstr>.AppleSystemUIFont</vt:lpstr>
      <vt:lpstr>Arial</vt:lpstr>
      <vt:lpstr>Arial Regular</vt:lpstr>
      <vt:lpstr>Calibri</vt:lpstr>
      <vt:lpstr>Helvetica Neue</vt:lpstr>
      <vt:lpstr>Helvetica Neue Medium</vt:lpstr>
      <vt:lpstr>HelvNeue Light for IBM</vt:lpstr>
      <vt:lpstr>IBM Plex Sans</vt:lpstr>
      <vt:lpstr>IBM Plex Sans Light</vt:lpstr>
      <vt:lpstr>IBM Plex Sans Medium</vt:lpstr>
      <vt:lpstr>IBM Plex Sans Regular</vt:lpstr>
      <vt:lpstr>IBM Plex Sans SemiBold</vt:lpstr>
      <vt:lpstr>System Font Regular</vt:lpstr>
      <vt:lpstr>Wingdings</vt:lpstr>
      <vt:lpstr>21_BasicWhite</vt:lpstr>
      <vt:lpstr>1_IBM BxD 2018 black background</vt:lpstr>
      <vt:lpstr>2_IBM 2019 Master template (black background)</vt:lpstr>
      <vt:lpstr>3_IBM 2020 Master template (black background)</vt:lpstr>
      <vt:lpstr>IBM 2020 Master template (light gray background)</vt:lpstr>
      <vt:lpstr>IBM Security Master Presentation - Arial</vt:lpstr>
      <vt:lpstr>2_blk_background_2017</vt:lpstr>
      <vt:lpstr>2_Dark Background</vt:lpstr>
      <vt:lpstr>HCD PPT Theme</vt:lpstr>
      <vt:lpstr>22_BasicWhite</vt:lpstr>
      <vt:lpstr>24_BasicWhite</vt:lpstr>
      <vt:lpstr>think-cell Slide</vt:lpstr>
      <vt:lpstr>Drawing</vt:lpstr>
      <vt:lpstr>CSM Engagement </vt:lpstr>
      <vt:lpstr>CSM Engagement  Enablers </vt:lpstr>
      <vt:lpstr>PowerPoint Presentation</vt:lpstr>
      <vt:lpstr>PowerPoint Presentation</vt:lpstr>
      <vt:lpstr>Brief summary / Quick Recap Customer Validation </vt:lpstr>
      <vt:lpstr>Current Initiatives &amp; Goals YY++</vt:lpstr>
      <vt:lpstr>PowerPoint Presentation</vt:lpstr>
      <vt:lpstr>PowerPoint Presentation</vt:lpstr>
      <vt:lpstr>  &lt;use case name&gt;</vt:lpstr>
      <vt:lpstr>PowerPoint Presentation</vt:lpstr>
      <vt:lpstr>PowerPoint Presentation</vt:lpstr>
      <vt:lpstr>PowerPoint Presentation</vt:lpstr>
      <vt:lpstr>PowerPoint Presentation</vt:lpstr>
      <vt:lpstr>Next Steps | CSM Onboarding    </vt:lpstr>
      <vt:lpstr>PowerPoint Presentation</vt:lpstr>
      <vt:lpstr>PowerPoint Presentation</vt:lpstr>
      <vt:lpstr>PowerPoint Presentation</vt:lpstr>
      <vt:lpstr>Cases Overview | Action Plan Background Info</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Susan LaFera</cp:lastModifiedBy>
  <cp:revision>280</cp:revision>
  <dcterms:modified xsi:type="dcterms:W3CDTF">2022-10-21T17:48:23Z</dcterms:modified>
</cp:coreProperties>
</file>